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67.xml" ContentType="application/vnd.openxmlformats-officedocument.presentationml.slideLayout+xml"/>
  <Override PartName="/ppt/theme/theme8.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74.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0.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1.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2.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3.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4.xml" ContentType="application/vnd.openxmlformats-officedocument.them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5.xml" ContentType="application/vnd.openxmlformats-officedocument.them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6.xml" ContentType="application/vnd.openxmlformats-officedocument.them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7.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18.xml" ContentType="application/vnd.openxmlformats-officedocument.them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824" r:id="rId5"/>
    <p:sldMasterId id="2147483891" r:id="rId6"/>
    <p:sldMasterId id="2147483894" r:id="rId7"/>
    <p:sldMasterId id="2147483895" r:id="rId8"/>
    <p:sldMasterId id="2147483896" r:id="rId9"/>
    <p:sldMasterId id="2147483899" r:id="rId10"/>
    <p:sldMasterId id="2147483924" r:id="rId11"/>
    <p:sldMasterId id="2147483943" r:id="rId12"/>
    <p:sldMasterId id="2147483965" r:id="rId13"/>
    <p:sldMasterId id="2147484023" r:id="rId14"/>
    <p:sldMasterId id="2147484057" r:id="rId15"/>
    <p:sldMasterId id="2147484076" r:id="rId16"/>
    <p:sldMasterId id="2147484091" r:id="rId17"/>
    <p:sldMasterId id="2147484112" r:id="rId18"/>
    <p:sldMasterId id="2147484121" r:id="rId19"/>
  </p:sldMasterIdLst>
  <p:notesMasterIdLst>
    <p:notesMasterId r:id="rId28"/>
  </p:notesMasterIdLst>
  <p:handoutMasterIdLst>
    <p:handoutMasterId r:id="rId29"/>
  </p:handoutMasterIdLst>
  <p:sldIdLst>
    <p:sldId id="484" r:id="rId20"/>
    <p:sldId id="671" r:id="rId21"/>
    <p:sldId id="682" r:id="rId22"/>
    <p:sldId id="684" r:id="rId23"/>
    <p:sldId id="703" r:id="rId24"/>
    <p:sldId id="710" r:id="rId25"/>
    <p:sldId id="712" r:id="rId26"/>
    <p:sldId id="713" r:id="rId27"/>
  </p:sldIdLst>
  <p:sldSz cx="13442950" cy="7561263"/>
  <p:notesSz cx="6858000" cy="9144000"/>
  <p:custDataLst>
    <p:tags r:id="rId30"/>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1021"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61"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3055" userDrawn="1">
          <p15:clr>
            <a:srgbClr val="A4A3A4"/>
          </p15:clr>
        </p15:guide>
        <p15:guide id="37" pos="3418"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323"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3449"/>
    <a:srgbClr val="FFFFFF"/>
    <a:srgbClr val="B6008D"/>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562" autoAdjust="0"/>
    <p:restoredTop sz="62613" autoAdjust="0"/>
  </p:normalViewPr>
  <p:slideViewPr>
    <p:cSldViewPr snapToGrid="0">
      <p:cViewPr varScale="1">
        <p:scale>
          <a:sx n="62" d="100"/>
          <a:sy n="62" d="100"/>
        </p:scale>
        <p:origin x="1542" y="60"/>
      </p:cViewPr>
      <p:guideLst>
        <p:guide orient="horz" pos="1578"/>
        <p:guide orient="horz" pos="4624"/>
        <p:guide orient="horz" pos="1513"/>
        <p:guide orient="horz" pos="1220"/>
        <p:guide orient="horz" pos="1021"/>
        <p:guide orient="horz" pos="1154"/>
        <p:guide orient="horz" pos="1860"/>
        <p:guide orient="horz" pos="1919"/>
        <p:guide orient="horz" pos="2613"/>
        <p:guide orient="horz" pos="2899"/>
        <p:guide orient="horz" pos="3243"/>
        <p:guide orient="horz" pos="3675"/>
        <p:guide orient="horz" pos="4285"/>
        <p:guide orient="horz" pos="3316"/>
        <p:guide orient="horz" pos="3561"/>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3055"/>
        <p:guide pos="3418"/>
        <p:guide pos="3646"/>
        <p:guide pos="4195"/>
        <p:guide pos="4847"/>
        <p:guide pos="4949"/>
        <p:guide pos="5323"/>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79" d="100"/>
          <a:sy n="79" d="100"/>
        </p:scale>
        <p:origin x="319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Master" Target="slideMasters/slideMaster12.xml"/><Relationship Id="rId18" Type="http://schemas.openxmlformats.org/officeDocument/2006/relationships/slideMaster" Target="slideMasters/slideMaster17.xml"/><Relationship Id="rId26" Type="http://schemas.openxmlformats.org/officeDocument/2006/relationships/slide" Target="slides/slide7.xml"/><Relationship Id="rId3" Type="http://schemas.openxmlformats.org/officeDocument/2006/relationships/slideMaster" Target="slideMasters/slideMaster2.xml"/><Relationship Id="rId21" Type="http://schemas.openxmlformats.org/officeDocument/2006/relationships/slide" Target="slides/slide2.xml"/><Relationship Id="rId34" Type="http://schemas.openxmlformats.org/officeDocument/2006/relationships/theme" Target="theme/theme1.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Master" Target="slideMasters/slideMaster16.xml"/><Relationship Id="rId25" Type="http://schemas.openxmlformats.org/officeDocument/2006/relationships/slide" Target="slides/slide6.xml"/><Relationship Id="rId33"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slideMaster" Target="slideMasters/slideMaster15.xml"/><Relationship Id="rId20" Type="http://schemas.openxmlformats.org/officeDocument/2006/relationships/slide" Target="slides/slide1.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5.xml"/><Relationship Id="rId32" Type="http://schemas.openxmlformats.org/officeDocument/2006/relationships/presProps" Target="presProps.xml"/><Relationship Id="rId5" Type="http://schemas.openxmlformats.org/officeDocument/2006/relationships/slideMaster" Target="slideMasters/slideMaster4.xml"/><Relationship Id="rId15" Type="http://schemas.openxmlformats.org/officeDocument/2006/relationships/slideMaster" Target="slideMasters/slideMaster14.xml"/><Relationship Id="rId23" Type="http://schemas.openxmlformats.org/officeDocument/2006/relationships/slide" Target="slides/slide4.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Master" Target="slideMasters/slideMaster9.xml"/><Relationship Id="rId19" Type="http://schemas.openxmlformats.org/officeDocument/2006/relationships/slideMaster" Target="slideMasters/slideMaster18.xml"/><Relationship Id="rId31" Type="http://schemas.openxmlformats.org/officeDocument/2006/relationships/commentAuthors" Target="commentAuthor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tags" Target="tags/tag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95380407099E-2"/>
          <c:y val="0.18185696435555099"/>
          <c:w val="0.95117440923918595"/>
          <c:h val="0.69455171114590397"/>
        </c:manualLayout>
      </c:layout>
      <c:barChart>
        <c:barDir val="col"/>
        <c:grouping val="clustered"/>
        <c:varyColors val="0"/>
        <c:ser>
          <c:idx val="0"/>
          <c:order val="0"/>
          <c:tx>
            <c:strRef>
              <c:f>Sheet1!$B$1</c:f>
              <c:strCache>
                <c:ptCount val="1"/>
                <c:pt idx="0">
                  <c:v>Better Impression</c:v>
                </c:pt>
              </c:strCache>
            </c:strRef>
          </c:tx>
          <c:spPr>
            <a:solidFill>
              <a:schemeClr val="tx1"/>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76B3-0645-A609-41CF9FCF8CC6}"/>
              </c:ext>
            </c:extLst>
          </c:dPt>
          <c:dPt>
            <c:idx val="1"/>
            <c:invertIfNegative val="0"/>
            <c:bubble3D val="0"/>
            <c:spPr>
              <a:solidFill>
                <a:srgbClr val="FB3449"/>
              </a:solidFill>
              <a:ln>
                <a:noFill/>
              </a:ln>
              <a:effectLst/>
            </c:spPr>
            <c:extLst>
              <c:ext xmlns:c16="http://schemas.microsoft.com/office/drawing/2014/chart" uri="{C3380CC4-5D6E-409C-BE32-E72D297353CC}">
                <c16:uniqueId val="{00000003-76B3-0645-A609-41CF9FCF8CC6}"/>
              </c:ext>
            </c:extLst>
          </c:dPt>
          <c:cat>
            <c:strRef>
              <c:f>Sheet1!$A$2:$A$3</c:f>
              <c:strCache>
                <c:ptCount val="2"/>
                <c:pt idx="0">
                  <c:v>Not exposed to cinema</c:v>
                </c:pt>
                <c:pt idx="1">
                  <c:v>Exposed to cinema</c:v>
                </c:pt>
              </c:strCache>
            </c:strRef>
          </c:cat>
          <c:val>
            <c:numRef>
              <c:f>Sheet1!$B$2:$B$3</c:f>
              <c:numCache>
                <c:formatCode>0.00%</c:formatCode>
                <c:ptCount val="2"/>
                <c:pt idx="0">
                  <c:v>0.5</c:v>
                </c:pt>
                <c:pt idx="1">
                  <c:v>0.65</c:v>
                </c:pt>
              </c:numCache>
            </c:numRef>
          </c:val>
          <c:extLst>
            <c:ext xmlns:c16="http://schemas.microsoft.com/office/drawing/2014/chart" uri="{C3380CC4-5D6E-409C-BE32-E72D297353CC}">
              <c16:uniqueId val="{00000004-76B3-0645-A609-41CF9FCF8CC6}"/>
            </c:ext>
          </c:extLst>
        </c:ser>
        <c:dLbls>
          <c:showLegendKey val="0"/>
          <c:showVal val="0"/>
          <c:showCatName val="0"/>
          <c:showSerName val="0"/>
          <c:showPercent val="0"/>
          <c:showBubbleSize val="0"/>
        </c:dLbls>
        <c:gapWidth val="219"/>
        <c:overlap val="-27"/>
        <c:axId val="-1311029088"/>
        <c:axId val="-1311023712"/>
      </c:barChart>
      <c:catAx>
        <c:axId val="-131102908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197" b="1" i="0" u="none" strike="noStrike" kern="1200" baseline="0">
                <a:solidFill>
                  <a:srgbClr val="FFFFFF"/>
                </a:solidFill>
                <a:latin typeface="Arial" charset="0"/>
                <a:ea typeface="Arial" charset="0"/>
                <a:cs typeface="Arial" charset="0"/>
              </a:defRPr>
            </a:pPr>
            <a:endParaRPr lang="en-US"/>
          </a:p>
        </c:txPr>
        <c:crossAx val="-1311023712"/>
        <c:crosses val="autoZero"/>
        <c:auto val="1"/>
        <c:lblAlgn val="ctr"/>
        <c:lblOffset val="100"/>
        <c:noMultiLvlLbl val="0"/>
      </c:catAx>
      <c:valAx>
        <c:axId val="-1311023712"/>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3110290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37881449001E-2"/>
          <c:y val="0.18185702512318999"/>
          <c:w val="0.95117440923918595"/>
          <c:h val="0.69455171114590397"/>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114D-DB4A-A066-6E47DC68DEFC}"/>
              </c:ext>
            </c:extLst>
          </c:dPt>
          <c:dPt>
            <c:idx val="1"/>
            <c:invertIfNegative val="0"/>
            <c:bubble3D val="0"/>
            <c:spPr>
              <a:solidFill>
                <a:srgbClr val="FB3449"/>
              </a:solidFill>
              <a:ln>
                <a:noFill/>
              </a:ln>
              <a:effectLst/>
            </c:spPr>
            <c:extLst>
              <c:ext xmlns:c16="http://schemas.microsoft.com/office/drawing/2014/chart" uri="{C3380CC4-5D6E-409C-BE32-E72D297353CC}">
                <c16:uniqueId val="{00000003-114D-DB4A-A066-6E47DC68DEFC}"/>
              </c:ext>
            </c:extLst>
          </c:dPt>
          <c:cat>
            <c:strRef>
              <c:f>Sheet1!$A$2:$A$3</c:f>
              <c:strCache>
                <c:ptCount val="2"/>
                <c:pt idx="0">
                  <c:v>Not exposed to cinema</c:v>
                </c:pt>
                <c:pt idx="1">
                  <c:v>Exposed to cinema</c:v>
                </c:pt>
              </c:strCache>
            </c:strRef>
          </c:cat>
          <c:val>
            <c:numRef>
              <c:f>Sheet1!$B$2:$B$3</c:f>
              <c:numCache>
                <c:formatCode>0.00%</c:formatCode>
                <c:ptCount val="2"/>
                <c:pt idx="0">
                  <c:v>0.28000000000000003</c:v>
                </c:pt>
                <c:pt idx="1">
                  <c:v>0.4</c:v>
                </c:pt>
              </c:numCache>
            </c:numRef>
          </c:val>
          <c:extLst>
            <c:ext xmlns:c16="http://schemas.microsoft.com/office/drawing/2014/chart" uri="{C3380CC4-5D6E-409C-BE32-E72D297353CC}">
              <c16:uniqueId val="{00000004-114D-DB4A-A066-6E47DC68DEFC}"/>
            </c:ext>
          </c:extLst>
        </c:ser>
        <c:dLbls>
          <c:showLegendKey val="0"/>
          <c:showVal val="0"/>
          <c:showCatName val="0"/>
          <c:showSerName val="0"/>
          <c:showPercent val="0"/>
          <c:showBubbleSize val="0"/>
        </c:dLbls>
        <c:gapWidth val="219"/>
        <c:overlap val="-27"/>
        <c:axId val="-1310987040"/>
        <c:axId val="-1310984288"/>
      </c:barChart>
      <c:catAx>
        <c:axId val="-1310987040"/>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197" b="1" i="0" u="none" strike="noStrike" kern="1200" baseline="0">
                <a:solidFill>
                  <a:srgbClr val="FFFFFF"/>
                </a:solidFill>
                <a:latin typeface="Arial" charset="0"/>
                <a:ea typeface="Arial" charset="0"/>
                <a:cs typeface="Arial" charset="0"/>
              </a:defRPr>
            </a:pPr>
            <a:endParaRPr lang="en-US"/>
          </a:p>
        </c:txPr>
        <c:crossAx val="-1310984288"/>
        <c:crosses val="autoZero"/>
        <c:auto val="1"/>
        <c:lblAlgn val="ctr"/>
        <c:lblOffset val="100"/>
        <c:noMultiLvlLbl val="0"/>
      </c:catAx>
      <c:valAx>
        <c:axId val="-1310984288"/>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310987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95380407099E-2"/>
          <c:y val="0.18185696435555099"/>
          <c:w val="0.95117440923918595"/>
          <c:h val="0.69455171114590397"/>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5382-964D-AF28-39F2A3DCED8C}"/>
              </c:ext>
            </c:extLst>
          </c:dPt>
          <c:dPt>
            <c:idx val="1"/>
            <c:invertIfNegative val="0"/>
            <c:bubble3D val="0"/>
            <c:spPr>
              <a:solidFill>
                <a:srgbClr val="FB3449"/>
              </a:solidFill>
              <a:ln>
                <a:noFill/>
              </a:ln>
              <a:effectLst/>
            </c:spPr>
            <c:extLst>
              <c:ext xmlns:c16="http://schemas.microsoft.com/office/drawing/2014/chart" uri="{C3380CC4-5D6E-409C-BE32-E72D297353CC}">
                <c16:uniqueId val="{00000003-5382-964D-AF28-39F2A3DCED8C}"/>
              </c:ext>
            </c:extLst>
          </c:dPt>
          <c:cat>
            <c:strRef>
              <c:f>Sheet1!$A$2:$A$3</c:f>
              <c:strCache>
                <c:ptCount val="2"/>
                <c:pt idx="0">
                  <c:v>Not exposed to cinema</c:v>
                </c:pt>
                <c:pt idx="1">
                  <c:v>Exposed to cinema</c:v>
                </c:pt>
              </c:strCache>
            </c:strRef>
          </c:cat>
          <c:val>
            <c:numRef>
              <c:f>Sheet1!$B$2:$B$3</c:f>
              <c:numCache>
                <c:formatCode>0.00%</c:formatCode>
                <c:ptCount val="2"/>
                <c:pt idx="0">
                  <c:v>0.25</c:v>
                </c:pt>
                <c:pt idx="1">
                  <c:v>0.4</c:v>
                </c:pt>
              </c:numCache>
            </c:numRef>
          </c:val>
          <c:extLst>
            <c:ext xmlns:c16="http://schemas.microsoft.com/office/drawing/2014/chart" uri="{C3380CC4-5D6E-409C-BE32-E72D297353CC}">
              <c16:uniqueId val="{00000004-5382-964D-AF28-39F2A3DCED8C}"/>
            </c:ext>
          </c:extLst>
        </c:ser>
        <c:dLbls>
          <c:showLegendKey val="0"/>
          <c:showVal val="0"/>
          <c:showCatName val="0"/>
          <c:showSerName val="0"/>
          <c:showPercent val="0"/>
          <c:showBubbleSize val="0"/>
        </c:dLbls>
        <c:gapWidth val="219"/>
        <c:overlap val="-27"/>
        <c:axId val="-1310377056"/>
        <c:axId val="-1310374304"/>
      </c:barChart>
      <c:catAx>
        <c:axId val="-1310377056"/>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197" b="1" i="0" u="none" strike="noStrike" kern="1200" baseline="0">
                <a:solidFill>
                  <a:srgbClr val="FFFFFF"/>
                </a:solidFill>
                <a:latin typeface="Arial" charset="0"/>
                <a:ea typeface="Arial" charset="0"/>
                <a:cs typeface="Arial" charset="0"/>
              </a:defRPr>
            </a:pPr>
            <a:endParaRPr lang="en-US"/>
          </a:p>
        </c:txPr>
        <c:crossAx val="-1310374304"/>
        <c:crosses val="autoZero"/>
        <c:auto val="1"/>
        <c:lblAlgn val="ctr"/>
        <c:lblOffset val="100"/>
        <c:noMultiLvlLbl val="0"/>
      </c:catAx>
      <c:valAx>
        <c:axId val="-1310374304"/>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3103770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3/22/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3/2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1" i="1" u="none" strike="noStrike" kern="1200" baseline="0" dirty="0">
                <a:solidFill>
                  <a:schemeClr val="tx1"/>
                </a:solidFill>
                <a:latin typeface="+mn-lt"/>
                <a:ea typeface="+mn-ea"/>
                <a:cs typeface="+mn-cs"/>
              </a:rPr>
              <a:t>Mission 16-34: Launch, Land, Impact </a:t>
            </a:r>
            <a:r>
              <a:rPr lang="en-GB" sz="1300" b="0" i="0" u="none" strike="noStrike" kern="1200" baseline="0" dirty="0">
                <a:solidFill>
                  <a:schemeClr val="tx1"/>
                </a:solidFill>
                <a:latin typeface="+mn-lt"/>
                <a:ea typeface="+mn-ea"/>
                <a:cs typeface="+mn-cs"/>
              </a:rPr>
              <a:t>is the fourth edition of DCM’s industry-leading </a:t>
            </a:r>
            <a:r>
              <a:rPr lang="en-GB" sz="1300" b="1" i="1" u="none" strike="noStrike" kern="1200" baseline="0" dirty="0">
                <a:solidFill>
                  <a:schemeClr val="tx1"/>
                </a:solidFill>
                <a:latin typeface="+mn-lt"/>
                <a:ea typeface="+mn-ea"/>
                <a:cs typeface="+mn-cs"/>
              </a:rPr>
              <a:t>Building Box Office Brands</a:t>
            </a:r>
            <a:r>
              <a:rPr lang="en-GB" sz="1300" b="0" i="1" u="none" strike="noStrike" kern="1200" baseline="0" dirty="0">
                <a:solidFill>
                  <a:schemeClr val="tx1"/>
                </a:solidFill>
                <a:latin typeface="+mn-lt"/>
                <a:ea typeface="+mn-ea"/>
                <a:cs typeface="+mn-cs"/>
              </a:rPr>
              <a:t> </a:t>
            </a:r>
            <a:r>
              <a:rPr lang="en-GB" sz="1300" b="0" i="0" u="none" strike="noStrike" kern="1200" baseline="0" dirty="0">
                <a:solidFill>
                  <a:schemeClr val="tx1"/>
                </a:solidFill>
                <a:latin typeface="+mn-lt"/>
                <a:ea typeface="+mn-ea"/>
                <a:cs typeface="+mn-cs"/>
              </a:rPr>
              <a:t>series. </a:t>
            </a:r>
          </a:p>
          <a:p>
            <a:endParaRPr lang="en-GB" sz="1300" b="0" i="0" u="none" strike="noStrike" kern="1200" baseline="0" dirty="0">
              <a:solidFill>
                <a:schemeClr val="tx1"/>
              </a:solidFill>
              <a:latin typeface="+mn-lt"/>
              <a:ea typeface="+mn-ea"/>
              <a:cs typeface="+mn-cs"/>
            </a:endParaRPr>
          </a:p>
          <a:p>
            <a:r>
              <a:rPr lang="en-GB" sz="1300" b="0" i="0" u="none" strike="noStrike" kern="1200" baseline="0" dirty="0">
                <a:solidFill>
                  <a:schemeClr val="tx1"/>
                </a:solidFill>
                <a:latin typeface="+mn-lt"/>
                <a:ea typeface="+mn-ea"/>
                <a:cs typeface="+mn-cs"/>
              </a:rPr>
              <a:t>Created in partnership with independent insight and strategy agency </a:t>
            </a:r>
            <a:r>
              <a:rPr lang="en-GB" sz="1300" b="0" i="0" u="none" strike="noStrike" kern="1200" baseline="0" dirty="0" err="1">
                <a:solidFill>
                  <a:schemeClr val="tx1"/>
                </a:solidFill>
                <a:latin typeface="+mn-lt"/>
                <a:ea typeface="+mn-ea"/>
                <a:cs typeface="+mn-cs"/>
              </a:rPr>
              <a:t>Differentology</a:t>
            </a:r>
            <a:r>
              <a:rPr lang="en-GB" sz="1300" b="0" i="0" u="none" strike="noStrike" kern="1200" baseline="0" dirty="0">
                <a:solidFill>
                  <a:schemeClr val="tx1"/>
                </a:solidFill>
                <a:latin typeface="+mn-lt"/>
                <a:ea typeface="+mn-ea"/>
                <a:cs typeface="+mn-cs"/>
              </a:rPr>
              <a:t>, the study explores the different roles that AV media play in the lives of young people and how cinema helps brands launch and land their messages with impact. </a:t>
            </a:r>
            <a:endParaRPr lang="en-GB" dirty="0"/>
          </a:p>
          <a:p>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a:t>
            </a:fld>
            <a:endParaRPr lang="en-US"/>
          </a:p>
        </p:txBody>
      </p:sp>
    </p:spTree>
    <p:extLst>
      <p:ext uri="{BB962C8B-B14F-4D97-AF65-F5344CB8AC3E}">
        <p14:creationId xmlns:p14="http://schemas.microsoft.com/office/powerpoint/2010/main" val="2521548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Differentology</a:t>
            </a:r>
            <a:r>
              <a:rPr lang="en-GB" dirty="0"/>
              <a:t> undertook a three-stage approach to tackle our objectives of understanding AV consumption and cinema’s role within this for the 16-34 audience: </a:t>
            </a:r>
          </a:p>
          <a:p>
            <a:endParaRPr lang="en-GB" dirty="0"/>
          </a:p>
          <a:p>
            <a:pPr marL="0" marR="0" lvl="0" indent="0" algn="l" defTabSz="961844" rtl="0" eaLnBrk="1" fontAlgn="auto" latinLnBrk="0" hangingPunct="1">
              <a:lnSpc>
                <a:spcPct val="100000"/>
              </a:lnSpc>
              <a:spcBef>
                <a:spcPts val="0"/>
              </a:spcBef>
              <a:spcAft>
                <a:spcPts val="0"/>
              </a:spcAft>
              <a:buClrTx/>
              <a:buSzTx/>
              <a:buFontTx/>
              <a:buNone/>
              <a:tabLst/>
              <a:defRPr/>
            </a:pPr>
            <a:r>
              <a:rPr lang="en-GB" b="1" dirty="0"/>
              <a:t>EXPLORE: </a:t>
            </a:r>
            <a:r>
              <a:rPr lang="en-GB" sz="1400" dirty="0">
                <a:solidFill>
                  <a:srgbClr val="FFFFFF"/>
                </a:solidFill>
                <a:latin typeface="Arial"/>
              </a:rPr>
              <a:t>All participants aged 16-34, consumed the full range of AV channels (TV, VOD, Online video) and go to the cinema at least 3 times a year (to capture the spectrum of cinemagoing rather than just the heaviest cinemagoers)</a:t>
            </a:r>
          </a:p>
          <a:p>
            <a:endParaRPr lang="en-GB" dirty="0"/>
          </a:p>
          <a:p>
            <a:r>
              <a:rPr lang="en-GB" b="1" dirty="0"/>
              <a:t>DEFINE: </a:t>
            </a:r>
            <a:r>
              <a:rPr lang="en-GB" b="0" dirty="0"/>
              <a:t>12 participants were exposed to a typical 11-min ad reel in a cinema and then discussed the cinema experience, advertising and some broader cinema journey topics in a 90 minute focus group. </a:t>
            </a:r>
            <a:endParaRPr lang="en-GB" b="1" dirty="0"/>
          </a:p>
          <a:p>
            <a:endParaRPr lang="en-GB" dirty="0"/>
          </a:p>
          <a:p>
            <a:pPr marL="0" marR="0" lvl="0" indent="0" algn="l" defTabSz="961844" rtl="0" eaLnBrk="1" fontAlgn="auto" latinLnBrk="0" hangingPunct="1">
              <a:lnSpc>
                <a:spcPct val="100000"/>
              </a:lnSpc>
              <a:spcBef>
                <a:spcPts val="0"/>
              </a:spcBef>
              <a:spcAft>
                <a:spcPts val="0"/>
              </a:spcAft>
              <a:buClrTx/>
              <a:buSzTx/>
              <a:buFontTx/>
              <a:buNone/>
              <a:tabLst/>
              <a:defRPr/>
            </a:pPr>
            <a:r>
              <a:rPr lang="en-GB" b="1" dirty="0"/>
              <a:t>QUANTIFY: </a:t>
            </a:r>
            <a:r>
              <a:rPr lang="en-GB" b="0" dirty="0"/>
              <a:t>Having unearthed key themes in the two qualitative stages of the project we wanted to understand the scale of these and so commissioned </a:t>
            </a:r>
            <a:r>
              <a:rPr lang="en-GB" b="0" dirty="0" err="1"/>
              <a:t>Differentology</a:t>
            </a:r>
            <a:r>
              <a:rPr lang="en-GB" b="0" dirty="0"/>
              <a:t> to run a survey amongst 1,000 nationally representative 16-34s. To investigate the impact of cinema amongst this audience </a:t>
            </a:r>
            <a:r>
              <a:rPr lang="en-GB" b="0" dirty="0" err="1"/>
              <a:t>Differentology</a:t>
            </a:r>
            <a:r>
              <a:rPr lang="en-GB" b="0" dirty="0"/>
              <a:t> also undertook a meta-analysis of 12 cinema ad effectiveness projects they’d run to reveal average uplifts on key brand metrics. </a:t>
            </a:r>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a:t>
            </a:fld>
            <a:endParaRPr lang="en-US"/>
          </a:p>
        </p:txBody>
      </p:sp>
    </p:spTree>
    <p:extLst>
      <p:ext uri="{BB962C8B-B14F-4D97-AF65-F5344CB8AC3E}">
        <p14:creationId xmlns:p14="http://schemas.microsoft.com/office/powerpoint/2010/main" val="9812977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Our research has highlighted a key challenge for advertisers trying to positively engage the 16-34 audience. Audiences are increasingly feeling bombarded by the amount of advertising they are being exposed to – specifically online advertising which people in our focus groups referred to as ‘hounding’ them. </a:t>
            </a:r>
          </a:p>
          <a:p>
            <a:endParaRPr lang="en-US" sz="1400" dirty="0"/>
          </a:p>
          <a:p>
            <a:r>
              <a:rPr lang="en-US" sz="1400" dirty="0"/>
              <a:t>It’s this perception of overwhelming amounts of targeted advertising driving this tech-savvy audience to install ad blockers (40% of 16-34s have ad blocker software on a device they own) and adds to the attractiveness of services such as Netflix and Spotify Premium that provide quality content with no ads. </a:t>
            </a:r>
          </a:p>
          <a:p>
            <a:endParaRPr lang="en-US" sz="1400" dirty="0"/>
          </a:p>
          <a:p>
            <a:r>
              <a:rPr lang="en-US" sz="1400" dirty="0"/>
              <a:t>So our industry has created a challenge for itself - how do you actually positively engage with this key audience when they’re now feeling hounded by advertisers and actively seeking ways to minimize the amount of advertising they’re seeing, in most contexts. </a:t>
            </a:r>
          </a:p>
        </p:txBody>
      </p:sp>
      <p:sp>
        <p:nvSpPr>
          <p:cNvPr id="4" name="Slide Number Placeholder 3"/>
          <p:cNvSpPr>
            <a:spLocks noGrp="1"/>
          </p:cNvSpPr>
          <p:nvPr>
            <p:ph type="sldNum" sz="quarter" idx="10"/>
          </p:nvPr>
        </p:nvSpPr>
        <p:spPr/>
        <p:txBody>
          <a:bodyPr/>
          <a:lstStyle/>
          <a:p>
            <a:fld id="{9C936D52-512B-47DE-BC94-6C88A56CE986}" type="slidenum">
              <a:rPr lang="en-US" smtClean="0"/>
              <a:pPr/>
              <a:t>3</a:t>
            </a:fld>
            <a:endParaRPr lang="en-US"/>
          </a:p>
        </p:txBody>
      </p:sp>
    </p:spTree>
    <p:extLst>
      <p:ext uri="{BB962C8B-B14F-4D97-AF65-F5344CB8AC3E}">
        <p14:creationId xmlns:p14="http://schemas.microsoft.com/office/powerpoint/2010/main" val="1804931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0" i="0" u="none" strike="noStrike" kern="1200" baseline="0" dirty="0">
                <a:solidFill>
                  <a:schemeClr val="tx1"/>
                </a:solidFill>
                <a:latin typeface="+mn-lt"/>
                <a:ea typeface="+mn-ea"/>
                <a:cs typeface="+mn-cs"/>
              </a:rPr>
              <a:t>Across the first two </a:t>
            </a:r>
            <a:r>
              <a:rPr lang="en-GB" sz="1300" b="0" i="0" u="none" strike="noStrike" kern="1200" baseline="0" dirty="0" err="1">
                <a:solidFill>
                  <a:schemeClr val="tx1"/>
                </a:solidFill>
                <a:latin typeface="+mn-lt"/>
                <a:ea typeface="+mn-ea"/>
                <a:cs typeface="+mn-cs"/>
              </a:rPr>
              <a:t>qual</a:t>
            </a:r>
            <a:r>
              <a:rPr lang="en-GB" sz="1300" b="0" i="0" u="none" strike="noStrike" kern="1200" baseline="0" dirty="0">
                <a:solidFill>
                  <a:schemeClr val="tx1"/>
                </a:solidFill>
                <a:latin typeface="+mn-lt"/>
                <a:ea typeface="+mn-ea"/>
                <a:cs typeface="+mn-cs"/>
              </a:rPr>
              <a:t> phases we collated a list of different phrases and descriptions of the different viewing experiences people had with the different AV media. In the survey to 1,000 16-34s we asked them to select which descriptors they most associated with viewing content on each of the AV platforms.</a:t>
            </a:r>
          </a:p>
          <a:p>
            <a:endParaRPr lang="en-GB" sz="1300" b="0" i="0" u="none" strike="noStrike" kern="1200" baseline="0" dirty="0">
              <a:solidFill>
                <a:schemeClr val="tx1"/>
              </a:solidFill>
              <a:latin typeface="+mn-lt"/>
              <a:ea typeface="+mn-ea"/>
              <a:cs typeface="+mn-cs"/>
            </a:endParaRPr>
          </a:p>
          <a:p>
            <a:r>
              <a:rPr lang="en-GB" sz="1300" b="0" i="0" u="none" strike="noStrike" kern="1200" baseline="0" dirty="0">
                <a:solidFill>
                  <a:schemeClr val="tx1"/>
                </a:solidFill>
                <a:latin typeface="+mn-lt"/>
                <a:ea typeface="+mn-ea"/>
                <a:cs typeface="+mn-cs"/>
              </a:rPr>
              <a:t>This slide highlights the Top 3 phrases selected for each AV platform and showcases the unique position that cinema occupies in the AV landscape. </a:t>
            </a:r>
          </a:p>
          <a:p>
            <a:endParaRPr lang="en-GB" sz="1300" b="0" i="0" u="none" strike="noStrike" kern="1200" baseline="0" dirty="0">
              <a:solidFill>
                <a:schemeClr val="tx1"/>
              </a:solidFill>
              <a:latin typeface="+mn-lt"/>
              <a:ea typeface="+mn-ea"/>
              <a:cs typeface="+mn-cs"/>
            </a:endParaRPr>
          </a:p>
          <a:p>
            <a:r>
              <a:rPr lang="en-GB" sz="1400" b="0" dirty="0">
                <a:solidFill>
                  <a:srgbClr val="2B2B2A"/>
                </a:solidFill>
                <a:latin typeface="Calibri" panose="020F0502020204030204" pitchFamily="34" charset="0"/>
                <a:cs typeface="Calibri" panose="020F0502020204030204" pitchFamily="34" charset="0"/>
              </a:rPr>
              <a:t>At a basic level, Live TV, VOD, YouTube and videos on social are broadly seen as ways to fill time with some slight differences for each 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Live TV provides a comforting accompaniment.</a:t>
            </a:r>
            <a:endParaRPr lang="en-GB" sz="9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OD is the place to binge on favourite show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YouTube is a temporary escape from other tasks (e.g. popping to YT for a quick video to distract yourself from work)</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ideos on Social Media are far more spontaneous and often given less attention.</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Whereas, Cinema is perceived as a shared experience, highly attentive and providing quality content – offering something unique to audiences and highlights why cinema remains in such strong health with the 16-34 audience.</a:t>
            </a:r>
            <a:endParaRPr lang="en-US" sz="1400"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4</a:t>
            </a:fld>
            <a:endParaRPr lang="en-US"/>
          </a:p>
        </p:txBody>
      </p:sp>
    </p:spTree>
    <p:extLst>
      <p:ext uri="{BB962C8B-B14F-4D97-AF65-F5344CB8AC3E}">
        <p14:creationId xmlns:p14="http://schemas.microsoft.com/office/powerpoint/2010/main" val="17475346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In the focus groups one cinemagoer referred to experience of entering the screen as entering into a “bubble” – and almost three quarters of the 16-34 audience agree that a trip a cinema places them into a bubble where the outside world can’t intrude. </a:t>
            </a:r>
          </a:p>
          <a:p>
            <a:endParaRPr lang="en-US" sz="1600" dirty="0"/>
          </a:p>
          <a:p>
            <a:r>
              <a:rPr lang="en-US" sz="1600" dirty="0"/>
              <a:t>This true escapism is welcomed by the audience and the benefit for advertisers is that cinema ads are actually seen as part of the experience – that cinemagoers pay attention to and often actually engage with, talking to their friends/family/partner about them while they’re watching. </a:t>
            </a:r>
          </a:p>
        </p:txBody>
      </p:sp>
      <p:sp>
        <p:nvSpPr>
          <p:cNvPr id="4" name="Slide Number Placeholder 3"/>
          <p:cNvSpPr>
            <a:spLocks noGrp="1"/>
          </p:cNvSpPr>
          <p:nvPr>
            <p:ph type="sldNum" sz="quarter" idx="10"/>
          </p:nvPr>
        </p:nvSpPr>
        <p:spPr/>
        <p:txBody>
          <a:bodyPr/>
          <a:lstStyle/>
          <a:p>
            <a:fld id="{9C936D52-512B-47DE-BC94-6C88A56CE986}" type="slidenum">
              <a:rPr lang="en-US" smtClean="0"/>
              <a:pPr/>
              <a:t>5</a:t>
            </a:fld>
            <a:endParaRPr lang="en-US"/>
          </a:p>
        </p:txBody>
      </p:sp>
    </p:spTree>
    <p:extLst>
      <p:ext uri="{BB962C8B-B14F-4D97-AF65-F5344CB8AC3E}">
        <p14:creationId xmlns:p14="http://schemas.microsoft.com/office/powerpoint/2010/main" val="979911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rgbClr val="2B2B2A"/>
                </a:solidFill>
                <a:latin typeface="Helvetica" pitchFamily="2" charset="0"/>
              </a:rPr>
              <a:t>With this project we were interested in understanding how the perceptions of cinema and its unique environment could benefit advertisers. In the survey we asked 16-34s to rank each AV platform based on how premium they thought each was, and how trustworthy they thought the advertising on each was too. </a:t>
            </a:r>
          </a:p>
          <a:p>
            <a:endParaRPr lang="en-US" sz="1400" cap="none" dirty="0">
              <a:solidFill>
                <a:srgbClr val="2B2B2A"/>
              </a:solidFill>
              <a:latin typeface="Helvetica" pitchFamily="2" charset="0"/>
            </a:endParaRPr>
          </a:p>
          <a:p>
            <a:r>
              <a:rPr lang="en-US" sz="1400" cap="none" dirty="0">
                <a:solidFill>
                  <a:srgbClr val="2B2B2A"/>
                </a:solidFill>
                <a:latin typeface="Helvetica" pitchFamily="2" charset="0"/>
              </a:rPr>
              <a:t>Cinema was most likely to be seen as premium (almost half of 16-34s picked cinema as the </a:t>
            </a:r>
            <a:r>
              <a:rPr lang="en-US" sz="1400" i="1" cap="none" dirty="0">
                <a:solidFill>
                  <a:srgbClr val="2B2B2A"/>
                </a:solidFill>
                <a:latin typeface="Helvetica" pitchFamily="2" charset="0"/>
              </a:rPr>
              <a:t>most</a:t>
            </a:r>
            <a:r>
              <a:rPr lang="en-US" sz="1400" i="0" cap="none" dirty="0">
                <a:solidFill>
                  <a:srgbClr val="2B2B2A"/>
                </a:solidFill>
                <a:latin typeface="Helvetica" pitchFamily="2" charset="0"/>
              </a:rPr>
              <a:t> premium) and the AV platform with the most trustworthy advertising – with the traditional channels (TV and Cinema) being far more likely to be highly thought on this metric vs. online advertising formats. </a:t>
            </a:r>
          </a:p>
          <a:p>
            <a:endParaRPr lang="en-US" sz="1400" i="0" cap="none" dirty="0">
              <a:solidFill>
                <a:srgbClr val="2B2B2A"/>
              </a:solidFill>
              <a:latin typeface="Helvetica" pitchFamily="2" charset="0"/>
            </a:endParaRPr>
          </a:p>
          <a:p>
            <a:r>
              <a:rPr lang="en-US" sz="1400" i="0" cap="none" dirty="0">
                <a:solidFill>
                  <a:srgbClr val="2B2B2A"/>
                </a:solidFill>
                <a:latin typeface="Helvetica" pitchFamily="2" charset="0"/>
              </a:rPr>
              <a:t>We then asked them to rank each platform based on where they felt ads made them feel more positively towards a brand – and again cinema came out top, being selected most frequently as the best place for making them feel more positive towards a brand.</a:t>
            </a:r>
          </a:p>
          <a:p>
            <a:endParaRPr lang="en-US" sz="1400" i="0" cap="none" dirty="0">
              <a:solidFill>
                <a:srgbClr val="2B2B2A"/>
              </a:solidFill>
              <a:latin typeface="Helvetica" pitchFamily="2" charset="0"/>
            </a:endParaRPr>
          </a:p>
          <a:p>
            <a:r>
              <a:rPr lang="en-US" sz="1400" i="0" cap="none" dirty="0">
                <a:solidFill>
                  <a:srgbClr val="2B2B2A"/>
                </a:solidFill>
                <a:latin typeface="Helvetica" pitchFamily="2" charset="0"/>
              </a:rPr>
              <a:t>Cinema’s ability to engage the 16-34 audience with brand advertising is crucial for advertisers for creating the right impression and building a trusted brand that people will perceive as premium quality. </a:t>
            </a:r>
            <a:endParaRPr lang="en-US" sz="1400" cap="none" dirty="0">
              <a:solidFill>
                <a:srgbClr val="2B2B2A"/>
              </a:solidFill>
              <a:latin typeface="Helvetica" pitchFamily="2" charset="0"/>
            </a:endParaRPr>
          </a:p>
        </p:txBody>
      </p:sp>
      <p:sp>
        <p:nvSpPr>
          <p:cNvPr id="4" name="Slide Number Placeholder 3"/>
          <p:cNvSpPr>
            <a:spLocks noGrp="1"/>
          </p:cNvSpPr>
          <p:nvPr>
            <p:ph type="sldNum" sz="quarter" idx="10"/>
          </p:nvPr>
        </p:nvSpPr>
        <p:spPr/>
        <p:txBody>
          <a:bodyPr/>
          <a:lstStyle/>
          <a:p>
            <a:fld id="{9C936D52-512B-47DE-BC94-6C88A56CE986}" type="slidenum">
              <a:rPr lang="en-US" smtClean="0"/>
              <a:pPr/>
              <a:t>6</a:t>
            </a:fld>
            <a:endParaRPr lang="en-US"/>
          </a:p>
        </p:txBody>
      </p:sp>
    </p:spTree>
    <p:extLst>
      <p:ext uri="{BB962C8B-B14F-4D97-AF65-F5344CB8AC3E}">
        <p14:creationId xmlns:p14="http://schemas.microsoft.com/office/powerpoint/2010/main" val="18208747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We wanted to go one step further and prove that cinema’s positive attributes and unique environment actually do pay off for brands too amongst the 16-34 audience. </a:t>
            </a:r>
          </a:p>
          <a:p>
            <a:endParaRPr lang="en-US" sz="1400" dirty="0"/>
          </a:p>
          <a:p>
            <a:r>
              <a:rPr lang="en-US" sz="1400" dirty="0" err="1"/>
              <a:t>Differentology</a:t>
            </a:r>
            <a:r>
              <a:rPr lang="en-US" sz="1400" dirty="0"/>
              <a:t> undertook a meta-analysis of 12 campaigns that they had measured the effectiveness of amongst the 16-34 audience across the last 18 months and found that those exposed to cinema were 30% more likely to have been left with a positive impression of the brand as a result of the campaign.</a:t>
            </a:r>
          </a:p>
          <a:p>
            <a:endParaRPr lang="en-US" sz="1400" dirty="0"/>
          </a:p>
          <a:p>
            <a:r>
              <a:rPr lang="en-US" sz="1400" dirty="0"/>
              <a:t>Furthermore, the highly attentive audience in cinema makes it the perfect environment for landing brand messages – results of the meta-analysis highlight that being exposed to cinema led to a 42% increase in rational brand perception agreement and 60% uplift in emotional brand perception agreement.</a:t>
            </a:r>
          </a:p>
          <a:p>
            <a:endParaRPr lang="en-US" sz="1400" dirty="0"/>
          </a:p>
          <a:p>
            <a:r>
              <a:rPr lang="en-US" sz="1400" dirty="0"/>
              <a:t>Highlighting the valuable role that cinema can play in both communicating key messages and </a:t>
            </a:r>
            <a:r>
              <a:rPr lang="en-US" sz="1400" b="1" dirty="0"/>
              <a:t>positively </a:t>
            </a:r>
            <a:r>
              <a:rPr lang="en-US" sz="1400" dirty="0"/>
              <a:t>engaging the 16-34 audience with brands. </a:t>
            </a:r>
          </a:p>
        </p:txBody>
      </p:sp>
      <p:sp>
        <p:nvSpPr>
          <p:cNvPr id="4" name="Slide Number Placeholder 3"/>
          <p:cNvSpPr>
            <a:spLocks noGrp="1"/>
          </p:cNvSpPr>
          <p:nvPr>
            <p:ph type="sldNum" sz="quarter" idx="10"/>
          </p:nvPr>
        </p:nvSpPr>
        <p:spPr/>
        <p:txBody>
          <a:bodyPr/>
          <a:lstStyle/>
          <a:p>
            <a:fld id="{9C936D52-512B-47DE-BC94-6C88A56CE986}" type="slidenum">
              <a:rPr lang="en-US" smtClean="0"/>
              <a:pPr/>
              <a:t>7</a:t>
            </a:fld>
            <a:endParaRPr lang="en-US"/>
          </a:p>
        </p:txBody>
      </p:sp>
    </p:spTree>
    <p:extLst>
      <p:ext uri="{BB962C8B-B14F-4D97-AF65-F5344CB8AC3E}">
        <p14:creationId xmlns:p14="http://schemas.microsoft.com/office/powerpoint/2010/main" val="11863511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0107796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6.emf"/><Relationship Id="rId2" Type="http://schemas.openxmlformats.org/officeDocument/2006/relationships/tags" Target="../tags/tag103.xml"/><Relationship Id="rId1" Type="http://schemas.openxmlformats.org/officeDocument/2006/relationships/vmlDrawing" Target="../drawings/vmlDrawing102.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6.emf"/><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76.emf"/><Relationship Id="rId3" Type="http://schemas.openxmlformats.org/officeDocument/2006/relationships/tags" Target="../tags/tag106.xml"/><Relationship Id="rId7" Type="http://schemas.openxmlformats.org/officeDocument/2006/relationships/oleObject" Target="../embeddings/oleObject105.bin"/><Relationship Id="rId2" Type="http://schemas.openxmlformats.org/officeDocument/2006/relationships/tags" Target="../tags/tag105.xml"/><Relationship Id="rId1" Type="http://schemas.openxmlformats.org/officeDocument/2006/relationships/vmlDrawing" Target="../drawings/vmlDrawing104.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7.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8.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9.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1.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2.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3.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4.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5.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6.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7.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8.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9.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0.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1.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2.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3.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4.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5.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6.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image" Target="../media/image19.emf"/><Relationship Id="rId3" Type="http://schemas.openxmlformats.org/officeDocument/2006/relationships/image" Target="../media/image9.emf"/><Relationship Id="rId7" Type="http://schemas.openxmlformats.org/officeDocument/2006/relationships/image" Target="../media/image13.emf"/><Relationship Id="rId12" Type="http://schemas.openxmlformats.org/officeDocument/2006/relationships/image" Target="../media/image18.emf"/><Relationship Id="rId2" Type="http://schemas.openxmlformats.org/officeDocument/2006/relationships/image" Target="../media/image8.emf"/><Relationship Id="rId1" Type="http://schemas.openxmlformats.org/officeDocument/2006/relationships/slideMaster" Target="../slideMasters/slideMaster13.xml"/><Relationship Id="rId6" Type="http://schemas.openxmlformats.org/officeDocument/2006/relationships/image" Target="../media/image12.emf"/><Relationship Id="rId11" Type="http://schemas.openxmlformats.org/officeDocument/2006/relationships/image" Target="../media/image17.emf"/><Relationship Id="rId5" Type="http://schemas.openxmlformats.org/officeDocument/2006/relationships/image" Target="../media/image11.emf"/><Relationship Id="rId10" Type="http://schemas.openxmlformats.org/officeDocument/2006/relationships/image" Target="../media/image16.emf"/><Relationship Id="rId4" Type="http://schemas.openxmlformats.org/officeDocument/2006/relationships/image" Target="../media/image10.emf"/><Relationship Id="rId9" Type="http://schemas.openxmlformats.org/officeDocument/2006/relationships/image" Target="../media/image15.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26.emf"/><Relationship Id="rId13" Type="http://schemas.openxmlformats.org/officeDocument/2006/relationships/image" Target="../media/image31.emf"/><Relationship Id="rId18" Type="http://schemas.openxmlformats.org/officeDocument/2006/relationships/image" Target="../media/image36.emf"/><Relationship Id="rId3" Type="http://schemas.openxmlformats.org/officeDocument/2006/relationships/image" Target="../media/image21.emf"/><Relationship Id="rId7" Type="http://schemas.openxmlformats.org/officeDocument/2006/relationships/image" Target="../media/image25.emf"/><Relationship Id="rId12" Type="http://schemas.openxmlformats.org/officeDocument/2006/relationships/image" Target="../media/image30.emf"/><Relationship Id="rId17" Type="http://schemas.openxmlformats.org/officeDocument/2006/relationships/image" Target="../media/image35.emf"/><Relationship Id="rId2" Type="http://schemas.openxmlformats.org/officeDocument/2006/relationships/image" Target="../media/image20.emf"/><Relationship Id="rId16" Type="http://schemas.openxmlformats.org/officeDocument/2006/relationships/image" Target="../media/image34.emf"/><Relationship Id="rId1" Type="http://schemas.openxmlformats.org/officeDocument/2006/relationships/slideMaster" Target="../slideMasters/slideMaster13.xml"/><Relationship Id="rId6" Type="http://schemas.openxmlformats.org/officeDocument/2006/relationships/image" Target="../media/image24.emf"/><Relationship Id="rId11" Type="http://schemas.openxmlformats.org/officeDocument/2006/relationships/image" Target="../media/image29.emf"/><Relationship Id="rId5" Type="http://schemas.openxmlformats.org/officeDocument/2006/relationships/image" Target="../media/image23.emf"/><Relationship Id="rId15" Type="http://schemas.openxmlformats.org/officeDocument/2006/relationships/image" Target="../media/image33.emf"/><Relationship Id="rId10" Type="http://schemas.openxmlformats.org/officeDocument/2006/relationships/image" Target="../media/image28.emf"/><Relationship Id="rId4" Type="http://schemas.openxmlformats.org/officeDocument/2006/relationships/image" Target="../media/image22.emf"/><Relationship Id="rId9" Type="http://schemas.openxmlformats.org/officeDocument/2006/relationships/image" Target="../media/image27.emf"/><Relationship Id="rId14" Type="http://schemas.openxmlformats.org/officeDocument/2006/relationships/image" Target="../media/image32.emf"/></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43.emf"/><Relationship Id="rId13" Type="http://schemas.openxmlformats.org/officeDocument/2006/relationships/image" Target="../media/image48.emf"/><Relationship Id="rId3" Type="http://schemas.openxmlformats.org/officeDocument/2006/relationships/image" Target="../media/image38.emf"/><Relationship Id="rId7" Type="http://schemas.openxmlformats.org/officeDocument/2006/relationships/image" Target="../media/image42.emf"/><Relationship Id="rId12" Type="http://schemas.openxmlformats.org/officeDocument/2006/relationships/image" Target="../media/image47.emf"/><Relationship Id="rId17" Type="http://schemas.openxmlformats.org/officeDocument/2006/relationships/image" Target="../media/image52.emf"/><Relationship Id="rId2" Type="http://schemas.openxmlformats.org/officeDocument/2006/relationships/image" Target="../media/image37.emf"/><Relationship Id="rId16" Type="http://schemas.openxmlformats.org/officeDocument/2006/relationships/image" Target="../media/image51.emf"/><Relationship Id="rId1" Type="http://schemas.openxmlformats.org/officeDocument/2006/relationships/slideMaster" Target="../slideMasters/slideMaster13.xml"/><Relationship Id="rId6" Type="http://schemas.openxmlformats.org/officeDocument/2006/relationships/image" Target="../media/image41.emf"/><Relationship Id="rId11" Type="http://schemas.openxmlformats.org/officeDocument/2006/relationships/image" Target="../media/image46.emf"/><Relationship Id="rId5" Type="http://schemas.openxmlformats.org/officeDocument/2006/relationships/image" Target="../media/image40.emf"/><Relationship Id="rId15" Type="http://schemas.openxmlformats.org/officeDocument/2006/relationships/image" Target="../media/image50.emf"/><Relationship Id="rId10" Type="http://schemas.openxmlformats.org/officeDocument/2006/relationships/image" Target="../media/image45.emf"/><Relationship Id="rId4" Type="http://schemas.openxmlformats.org/officeDocument/2006/relationships/image" Target="../media/image39.emf"/><Relationship Id="rId9" Type="http://schemas.openxmlformats.org/officeDocument/2006/relationships/image" Target="../media/image44.emf"/><Relationship Id="rId14" Type="http://schemas.openxmlformats.org/officeDocument/2006/relationships/image" Target="../media/image49.emf"/></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59.emf"/><Relationship Id="rId13" Type="http://schemas.openxmlformats.org/officeDocument/2006/relationships/image" Target="../media/image64.emf"/><Relationship Id="rId18" Type="http://schemas.openxmlformats.org/officeDocument/2006/relationships/image" Target="../media/image69.emf"/><Relationship Id="rId3" Type="http://schemas.openxmlformats.org/officeDocument/2006/relationships/image" Target="../media/image54.emf"/><Relationship Id="rId7" Type="http://schemas.openxmlformats.org/officeDocument/2006/relationships/image" Target="../media/image58.emf"/><Relationship Id="rId12" Type="http://schemas.openxmlformats.org/officeDocument/2006/relationships/image" Target="../media/image63.emf"/><Relationship Id="rId17" Type="http://schemas.openxmlformats.org/officeDocument/2006/relationships/image" Target="../media/image68.emf"/><Relationship Id="rId2" Type="http://schemas.openxmlformats.org/officeDocument/2006/relationships/image" Target="../media/image53.emf"/><Relationship Id="rId16" Type="http://schemas.openxmlformats.org/officeDocument/2006/relationships/image" Target="../media/image67.emf"/><Relationship Id="rId1" Type="http://schemas.openxmlformats.org/officeDocument/2006/relationships/slideMaster" Target="../slideMasters/slideMaster13.xml"/><Relationship Id="rId6" Type="http://schemas.openxmlformats.org/officeDocument/2006/relationships/image" Target="../media/image57.emf"/><Relationship Id="rId11" Type="http://schemas.openxmlformats.org/officeDocument/2006/relationships/image" Target="../media/image62.emf"/><Relationship Id="rId5" Type="http://schemas.openxmlformats.org/officeDocument/2006/relationships/image" Target="../media/image56.emf"/><Relationship Id="rId15" Type="http://schemas.openxmlformats.org/officeDocument/2006/relationships/image" Target="../media/image66.emf"/><Relationship Id="rId10" Type="http://schemas.openxmlformats.org/officeDocument/2006/relationships/image" Target="../media/image61.emf"/><Relationship Id="rId4" Type="http://schemas.openxmlformats.org/officeDocument/2006/relationships/image" Target="../media/image55.emf"/><Relationship Id="rId9" Type="http://schemas.openxmlformats.org/officeDocument/2006/relationships/image" Target="../media/image60.emf"/><Relationship Id="rId14" Type="http://schemas.openxmlformats.org/officeDocument/2006/relationships/image" Target="../media/image65.emf"/></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71.emf"/><Relationship Id="rId7" Type="http://schemas.openxmlformats.org/officeDocument/2006/relationships/image" Target="../media/image75.emf"/><Relationship Id="rId2" Type="http://schemas.openxmlformats.org/officeDocument/2006/relationships/image" Target="../media/image70.emf"/><Relationship Id="rId1" Type="http://schemas.openxmlformats.org/officeDocument/2006/relationships/slideMaster" Target="../slideMasters/slideMaster13.xml"/><Relationship Id="rId6" Type="http://schemas.openxmlformats.org/officeDocument/2006/relationships/image" Target="../media/image74.emf"/><Relationship Id="rId5" Type="http://schemas.openxmlformats.org/officeDocument/2006/relationships/image" Target="../media/image73.emf"/><Relationship Id="rId4" Type="http://schemas.openxmlformats.org/officeDocument/2006/relationships/image" Target="../media/image72.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0.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oleObject" Target="../embeddings/oleObject131.bin"/><Relationship Id="rId2" Type="http://schemas.openxmlformats.org/officeDocument/2006/relationships/tags" Target="../tags/tag131.xml"/><Relationship Id="rId1" Type="http://schemas.openxmlformats.org/officeDocument/2006/relationships/vmlDrawing" Target="../drawings/vmlDrawing129.vml"/><Relationship Id="rId6" Type="http://schemas.openxmlformats.org/officeDocument/2006/relationships/image" Target="../media/image1.emf"/><Relationship Id="rId5" Type="http://schemas.openxmlformats.org/officeDocument/2006/relationships/oleObject" Target="../embeddings/oleObject130.bin"/><Relationship Id="rId4"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3.xml"/><Relationship Id="rId1" Type="http://schemas.openxmlformats.org/officeDocument/2006/relationships/vmlDrawing" Target="../drawings/vmlDrawing130.vml"/><Relationship Id="rId6" Type="http://schemas.openxmlformats.org/officeDocument/2006/relationships/image" Target="../media/image77.emf"/><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4.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5.xml"/><Relationship Id="rId1" Type="http://schemas.openxmlformats.org/officeDocument/2006/relationships/vmlDrawing" Target="../drawings/vmlDrawing132.vml"/><Relationship Id="rId6" Type="http://schemas.openxmlformats.org/officeDocument/2006/relationships/image" Target="../media/image77.emf"/><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emf"/><Relationship Id="rId2" Type="http://schemas.openxmlformats.org/officeDocument/2006/relationships/tags" Target="../tags/tag136.xml"/><Relationship Id="rId1" Type="http://schemas.openxmlformats.org/officeDocument/2006/relationships/vmlDrawing" Target="../drawings/vmlDrawing133.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7.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emf"/><Relationship Id="rId2" Type="http://schemas.openxmlformats.org/officeDocument/2006/relationships/tags" Target="../tags/tag138.xml"/><Relationship Id="rId1" Type="http://schemas.openxmlformats.org/officeDocument/2006/relationships/vmlDrawing" Target="../drawings/vmlDrawing135.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9.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0.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1.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2.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3.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4.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5.xml"/><Relationship Id="rId1" Type="http://schemas.openxmlformats.org/officeDocument/2006/relationships/vmlDrawing" Target="../drawings/vmlDrawing142.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6.xml"/><Relationship Id="rId1" Type="http://schemas.openxmlformats.org/officeDocument/2006/relationships/vmlDrawing" Target="../drawings/vmlDrawing143.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7.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8.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9.xml"/><Relationship Id="rId1" Type="http://schemas.openxmlformats.org/officeDocument/2006/relationships/vmlDrawing" Target="../drawings/vmlDrawing146.vml"/><Relationship Id="rId5" Type="http://schemas.openxmlformats.org/officeDocument/2006/relationships/image" Target="../media/image1.emf"/><Relationship Id="rId4" Type="http://schemas.openxmlformats.org/officeDocument/2006/relationships/oleObject" Target="../embeddings/oleObject148.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0.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78.png"/><Relationship Id="rId2" Type="http://schemas.openxmlformats.org/officeDocument/2006/relationships/tags" Target="../tags/tag151.xml"/><Relationship Id="rId1" Type="http://schemas.openxmlformats.org/officeDocument/2006/relationships/vmlDrawing" Target="../drawings/vmlDrawing148.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50.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2.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3.xml"/><Relationship Id="rId1" Type="http://schemas.openxmlformats.org/officeDocument/2006/relationships/vmlDrawing" Target="../drawings/vmlDrawing150.vml"/><Relationship Id="rId5" Type="http://schemas.openxmlformats.org/officeDocument/2006/relationships/image" Target="../media/image1.emf"/><Relationship Id="rId4" Type="http://schemas.openxmlformats.org/officeDocument/2006/relationships/oleObject" Target="../embeddings/oleObject152.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5.xml"/><Relationship Id="rId1" Type="http://schemas.openxmlformats.org/officeDocument/2006/relationships/vmlDrawing" Target="../drawings/vmlDrawing152.vml"/><Relationship Id="rId5" Type="http://schemas.openxmlformats.org/officeDocument/2006/relationships/image" Target="../media/image1.emf"/><Relationship Id="rId4" Type="http://schemas.openxmlformats.org/officeDocument/2006/relationships/oleObject" Target="../embeddings/oleObject154.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6.xml"/><Relationship Id="rId1" Type="http://schemas.openxmlformats.org/officeDocument/2006/relationships/vmlDrawing" Target="../drawings/vmlDrawing153.vml"/><Relationship Id="rId5" Type="http://schemas.openxmlformats.org/officeDocument/2006/relationships/image" Target="../media/image1.emf"/><Relationship Id="rId4" Type="http://schemas.openxmlformats.org/officeDocument/2006/relationships/oleObject" Target="../embeddings/oleObject155.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7.xml"/><Relationship Id="rId1" Type="http://schemas.openxmlformats.org/officeDocument/2006/relationships/vmlDrawing" Target="../drawings/vmlDrawing154.vml"/><Relationship Id="rId5" Type="http://schemas.openxmlformats.org/officeDocument/2006/relationships/image" Target="../media/image1.emf"/><Relationship Id="rId4" Type="http://schemas.openxmlformats.org/officeDocument/2006/relationships/oleObject" Target="../embeddings/oleObject156.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8.xml"/><Relationship Id="rId1" Type="http://schemas.openxmlformats.org/officeDocument/2006/relationships/vmlDrawing" Target="../drawings/vmlDrawing155.vml"/><Relationship Id="rId5" Type="http://schemas.openxmlformats.org/officeDocument/2006/relationships/image" Target="../media/image1.emf"/><Relationship Id="rId4" Type="http://schemas.openxmlformats.org/officeDocument/2006/relationships/oleObject" Target="../embeddings/oleObject157.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9.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58.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0.xml"/><Relationship Id="rId1" Type="http://schemas.openxmlformats.org/officeDocument/2006/relationships/vmlDrawing" Target="../drawings/vmlDrawing157.vml"/><Relationship Id="rId5" Type="http://schemas.openxmlformats.org/officeDocument/2006/relationships/image" Target="../media/image1.emf"/><Relationship Id="rId4" Type="http://schemas.openxmlformats.org/officeDocument/2006/relationships/oleObject" Target="../embeddings/oleObject159.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1.xml"/><Relationship Id="rId1" Type="http://schemas.openxmlformats.org/officeDocument/2006/relationships/vmlDrawing" Target="../drawings/vmlDrawing158.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2.xml"/><Relationship Id="rId1" Type="http://schemas.openxmlformats.org/officeDocument/2006/relationships/vmlDrawing" Target="../drawings/vmlDrawing159.vml"/><Relationship Id="rId5" Type="http://schemas.openxmlformats.org/officeDocument/2006/relationships/image" Target="../media/image1.emf"/><Relationship Id="rId4" Type="http://schemas.openxmlformats.org/officeDocument/2006/relationships/oleObject" Target="../embeddings/oleObject161.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3.xml"/><Relationship Id="rId1" Type="http://schemas.openxmlformats.org/officeDocument/2006/relationships/vmlDrawing" Target="../drawings/vmlDrawing160.vml"/><Relationship Id="rId5" Type="http://schemas.openxmlformats.org/officeDocument/2006/relationships/image" Target="../media/image1.emf"/><Relationship Id="rId4" Type="http://schemas.openxmlformats.org/officeDocument/2006/relationships/oleObject" Target="../embeddings/oleObject16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4.xml"/><Relationship Id="rId1" Type="http://schemas.openxmlformats.org/officeDocument/2006/relationships/vmlDrawing" Target="../drawings/vmlDrawing161.vml"/><Relationship Id="rId5" Type="http://schemas.openxmlformats.org/officeDocument/2006/relationships/image" Target="../media/image1.emf"/><Relationship Id="rId4" Type="http://schemas.openxmlformats.org/officeDocument/2006/relationships/oleObject" Target="../embeddings/oleObject163.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5.xml"/><Relationship Id="rId1" Type="http://schemas.openxmlformats.org/officeDocument/2006/relationships/vmlDrawing" Target="../drawings/vmlDrawing162.vml"/><Relationship Id="rId5" Type="http://schemas.openxmlformats.org/officeDocument/2006/relationships/image" Target="../media/image1.emf"/><Relationship Id="rId4" Type="http://schemas.openxmlformats.org/officeDocument/2006/relationships/oleObject" Target="../embeddings/oleObject164.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6.xml"/><Relationship Id="rId1" Type="http://schemas.openxmlformats.org/officeDocument/2006/relationships/vmlDrawing" Target="../drawings/vmlDrawing163.vml"/><Relationship Id="rId5" Type="http://schemas.openxmlformats.org/officeDocument/2006/relationships/image" Target="../media/image1.emf"/><Relationship Id="rId4" Type="http://schemas.openxmlformats.org/officeDocument/2006/relationships/oleObject" Target="../embeddings/oleObject165.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7.xml"/><Relationship Id="rId1" Type="http://schemas.openxmlformats.org/officeDocument/2006/relationships/vmlDrawing" Target="../drawings/vmlDrawing164.vml"/><Relationship Id="rId5" Type="http://schemas.openxmlformats.org/officeDocument/2006/relationships/image" Target="../media/image1.emf"/><Relationship Id="rId4" Type="http://schemas.openxmlformats.org/officeDocument/2006/relationships/oleObject" Target="../embeddings/oleObject166.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8.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67.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9.xml"/><Relationship Id="rId1" Type="http://schemas.openxmlformats.org/officeDocument/2006/relationships/vmlDrawing" Target="../drawings/vmlDrawing166.vml"/><Relationship Id="rId5" Type="http://schemas.openxmlformats.org/officeDocument/2006/relationships/image" Target="../media/image1.emf"/><Relationship Id="rId4" Type="http://schemas.openxmlformats.org/officeDocument/2006/relationships/oleObject" Target="../embeddings/oleObject168.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0.xml"/><Relationship Id="rId1" Type="http://schemas.openxmlformats.org/officeDocument/2006/relationships/vmlDrawing" Target="../drawings/vmlDrawing167.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1.xml"/><Relationship Id="rId1" Type="http://schemas.openxmlformats.org/officeDocument/2006/relationships/vmlDrawing" Target="../drawings/vmlDrawing168.vml"/><Relationship Id="rId5" Type="http://schemas.openxmlformats.org/officeDocument/2006/relationships/image" Target="../media/image1.emf"/><Relationship Id="rId4" Type="http://schemas.openxmlformats.org/officeDocument/2006/relationships/oleObject" Target="../embeddings/oleObject170.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2.xml"/><Relationship Id="rId1" Type="http://schemas.openxmlformats.org/officeDocument/2006/relationships/vmlDrawing" Target="../drawings/vmlDrawing169.vml"/><Relationship Id="rId5" Type="http://schemas.openxmlformats.org/officeDocument/2006/relationships/image" Target="../media/image1.emf"/><Relationship Id="rId4" Type="http://schemas.openxmlformats.org/officeDocument/2006/relationships/oleObject" Target="../embeddings/oleObject171.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74.xml"/><Relationship Id="rId1" Type="http://schemas.openxmlformats.org/officeDocument/2006/relationships/vmlDrawing" Target="../drawings/vmlDrawing171.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6.emf"/><Relationship Id="rId2" Type="http://schemas.openxmlformats.org/officeDocument/2006/relationships/tags" Target="../tags/tag175.xml"/><Relationship Id="rId1" Type="http://schemas.openxmlformats.org/officeDocument/2006/relationships/vmlDrawing" Target="../drawings/vmlDrawing172.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4.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6.emf"/><Relationship Id="rId2" Type="http://schemas.openxmlformats.org/officeDocument/2006/relationships/tags" Target="../tags/tag176.xml"/><Relationship Id="rId1" Type="http://schemas.openxmlformats.org/officeDocument/2006/relationships/vmlDrawing" Target="../drawings/vmlDrawing173.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5.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6.emf"/><Relationship Id="rId2" Type="http://schemas.openxmlformats.org/officeDocument/2006/relationships/tags" Target="../tags/tag177.xml"/><Relationship Id="rId1" Type="http://schemas.openxmlformats.org/officeDocument/2006/relationships/vmlDrawing" Target="../drawings/vmlDrawing174.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6.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6.emf"/><Relationship Id="rId2" Type="http://schemas.openxmlformats.org/officeDocument/2006/relationships/tags" Target="../tags/tag178.xml"/><Relationship Id="rId1" Type="http://schemas.openxmlformats.org/officeDocument/2006/relationships/vmlDrawing" Target="../drawings/vmlDrawing175.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7.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6.emf"/><Relationship Id="rId2" Type="http://schemas.openxmlformats.org/officeDocument/2006/relationships/tags" Target="../tags/tag179.xml"/><Relationship Id="rId1" Type="http://schemas.openxmlformats.org/officeDocument/2006/relationships/vmlDrawing" Target="../drawings/vmlDrawing176.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6.emf"/><Relationship Id="rId2" Type="http://schemas.openxmlformats.org/officeDocument/2006/relationships/tags" Target="../tags/tag180.xml"/><Relationship Id="rId1" Type="http://schemas.openxmlformats.org/officeDocument/2006/relationships/vmlDrawing" Target="../drawings/vmlDrawing177.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9.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6.emf"/><Relationship Id="rId2" Type="http://schemas.openxmlformats.org/officeDocument/2006/relationships/tags" Target="../tags/tag181.xml"/><Relationship Id="rId1" Type="http://schemas.openxmlformats.org/officeDocument/2006/relationships/vmlDrawing" Target="../drawings/vmlDrawing178.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80.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6.emf"/><Relationship Id="rId2" Type="http://schemas.openxmlformats.org/officeDocument/2006/relationships/tags" Target="../tags/tag182.xml"/><Relationship Id="rId1" Type="http://schemas.openxmlformats.org/officeDocument/2006/relationships/vmlDrawing" Target="../drawings/vmlDrawing179.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81.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6.emf"/><Relationship Id="rId2" Type="http://schemas.openxmlformats.org/officeDocument/2006/relationships/tags" Target="../tags/tag183.xml"/><Relationship Id="rId1" Type="http://schemas.openxmlformats.org/officeDocument/2006/relationships/vmlDrawing" Target="../drawings/vmlDrawing180.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8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5.xml"/><Relationship Id="rId1" Type="http://schemas.openxmlformats.org/officeDocument/2006/relationships/vmlDrawing" Target="../drawings/vmlDrawing182.vml"/><Relationship Id="rId5" Type="http://schemas.openxmlformats.org/officeDocument/2006/relationships/image" Target="../media/image1.emf"/><Relationship Id="rId4" Type="http://schemas.openxmlformats.org/officeDocument/2006/relationships/oleObject" Target="../embeddings/oleObject184.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6.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85.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7.xml"/><Relationship Id="rId1" Type="http://schemas.openxmlformats.org/officeDocument/2006/relationships/vmlDrawing" Target="../drawings/vmlDrawing184.vml"/><Relationship Id="rId5" Type="http://schemas.openxmlformats.org/officeDocument/2006/relationships/image" Target="../media/image1.emf"/><Relationship Id="rId4" Type="http://schemas.openxmlformats.org/officeDocument/2006/relationships/oleObject" Target="../embeddings/oleObject186.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8.xml"/><Relationship Id="rId1" Type="http://schemas.openxmlformats.org/officeDocument/2006/relationships/vmlDrawing" Target="../drawings/vmlDrawing185.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9.xml"/><Relationship Id="rId1" Type="http://schemas.openxmlformats.org/officeDocument/2006/relationships/vmlDrawing" Target="../drawings/vmlDrawing186.vml"/><Relationship Id="rId5" Type="http://schemas.openxmlformats.org/officeDocument/2006/relationships/image" Target="../media/image1.emf"/><Relationship Id="rId4" Type="http://schemas.openxmlformats.org/officeDocument/2006/relationships/oleObject" Target="../embeddings/oleObject188.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0.xml"/><Relationship Id="rId1" Type="http://schemas.openxmlformats.org/officeDocument/2006/relationships/vmlDrawing" Target="../drawings/vmlDrawing187.vml"/><Relationship Id="rId5" Type="http://schemas.openxmlformats.org/officeDocument/2006/relationships/image" Target="../media/image1.emf"/><Relationship Id="rId4" Type="http://schemas.openxmlformats.org/officeDocument/2006/relationships/oleObject" Target="../embeddings/oleObject189.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1.xml"/><Relationship Id="rId1" Type="http://schemas.openxmlformats.org/officeDocument/2006/relationships/vmlDrawing" Target="../drawings/vmlDrawing188.vml"/><Relationship Id="rId5" Type="http://schemas.openxmlformats.org/officeDocument/2006/relationships/image" Target="../media/image1.emf"/><Relationship Id="rId4" Type="http://schemas.openxmlformats.org/officeDocument/2006/relationships/oleObject" Target="../embeddings/oleObject190.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2.xml"/><Relationship Id="rId1" Type="http://schemas.openxmlformats.org/officeDocument/2006/relationships/vmlDrawing" Target="../drawings/vmlDrawing189.vml"/><Relationship Id="rId5" Type="http://schemas.openxmlformats.org/officeDocument/2006/relationships/image" Target="../media/image1.emf"/><Relationship Id="rId4" Type="http://schemas.openxmlformats.org/officeDocument/2006/relationships/oleObject" Target="../embeddings/oleObject19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3.xml"/><Relationship Id="rId1" Type="http://schemas.openxmlformats.org/officeDocument/2006/relationships/vmlDrawing" Target="../drawings/vmlDrawing190.vml"/><Relationship Id="rId5" Type="http://schemas.openxmlformats.org/officeDocument/2006/relationships/image" Target="../media/image1.emf"/><Relationship Id="rId4" Type="http://schemas.openxmlformats.org/officeDocument/2006/relationships/oleObject" Target="../embeddings/oleObject192.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4.xml"/><Relationship Id="rId1" Type="http://schemas.openxmlformats.org/officeDocument/2006/relationships/vmlDrawing" Target="../drawings/vmlDrawing191.vml"/><Relationship Id="rId5" Type="http://schemas.openxmlformats.org/officeDocument/2006/relationships/image" Target="../media/image1.emf"/><Relationship Id="rId4" Type="http://schemas.openxmlformats.org/officeDocument/2006/relationships/oleObject" Target="../embeddings/oleObject193.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5.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194.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6.xml"/><Relationship Id="rId1" Type="http://schemas.openxmlformats.org/officeDocument/2006/relationships/vmlDrawing" Target="../drawings/vmlDrawing193.vml"/><Relationship Id="rId5" Type="http://schemas.openxmlformats.org/officeDocument/2006/relationships/image" Target="../media/image1.emf"/><Relationship Id="rId4" Type="http://schemas.openxmlformats.org/officeDocument/2006/relationships/oleObject" Target="../embeddings/oleObject195.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7.xml"/><Relationship Id="rId1" Type="http://schemas.openxmlformats.org/officeDocument/2006/relationships/vmlDrawing" Target="../drawings/vmlDrawing194.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8.xml"/><Relationship Id="rId1" Type="http://schemas.openxmlformats.org/officeDocument/2006/relationships/vmlDrawing" Target="../drawings/vmlDrawing195.vml"/><Relationship Id="rId5" Type="http://schemas.openxmlformats.org/officeDocument/2006/relationships/image" Target="../media/image1.emf"/><Relationship Id="rId4" Type="http://schemas.openxmlformats.org/officeDocument/2006/relationships/oleObject" Target="../embeddings/oleObject197.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9.xml"/><Relationship Id="rId1" Type="http://schemas.openxmlformats.org/officeDocument/2006/relationships/vmlDrawing" Target="../drawings/vmlDrawing196.v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00.xml"/><Relationship Id="rId1" Type="http://schemas.openxmlformats.org/officeDocument/2006/relationships/vmlDrawing" Target="../drawings/vmlDrawing197.vml"/><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01.xml"/><Relationship Id="rId1" Type="http://schemas.openxmlformats.org/officeDocument/2006/relationships/vmlDrawing" Target="../drawings/vmlDrawing198.vml"/><Relationship Id="rId5" Type="http://schemas.openxmlformats.org/officeDocument/2006/relationships/image" Target="../media/image1.emf"/><Relationship Id="rId4" Type="http://schemas.openxmlformats.org/officeDocument/2006/relationships/oleObject" Target="../embeddings/oleObject200.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02.xml"/><Relationship Id="rId1" Type="http://schemas.openxmlformats.org/officeDocument/2006/relationships/vmlDrawing" Target="../drawings/vmlDrawing199.vml"/><Relationship Id="rId5" Type="http://schemas.openxmlformats.org/officeDocument/2006/relationships/image" Target="../media/image1.emf"/><Relationship Id="rId4" Type="http://schemas.openxmlformats.org/officeDocument/2006/relationships/oleObject" Target="../embeddings/oleObject20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7.xml"/></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4.xml"/><Relationship Id="rId1" Type="http://schemas.openxmlformats.org/officeDocument/2006/relationships/vmlDrawing" Target="../drawings/vmlDrawing201.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6.emf"/><Relationship Id="rId2" Type="http://schemas.openxmlformats.org/officeDocument/2006/relationships/tags" Target="../tags/tag205.xml"/><Relationship Id="rId1" Type="http://schemas.openxmlformats.org/officeDocument/2006/relationships/vmlDrawing" Target="../drawings/vmlDrawing202.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6.emf"/><Relationship Id="rId2" Type="http://schemas.openxmlformats.org/officeDocument/2006/relationships/tags" Target="../tags/tag206.xml"/><Relationship Id="rId1" Type="http://schemas.openxmlformats.org/officeDocument/2006/relationships/vmlDrawing" Target="../drawings/vmlDrawing203.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6.emf"/><Relationship Id="rId2" Type="http://schemas.openxmlformats.org/officeDocument/2006/relationships/tags" Target="../tags/tag207.xml"/><Relationship Id="rId1" Type="http://schemas.openxmlformats.org/officeDocument/2006/relationships/vmlDrawing" Target="../drawings/vmlDrawing204.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6.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6.emf"/><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7.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6.emf"/><Relationship Id="rId2" Type="http://schemas.openxmlformats.org/officeDocument/2006/relationships/tags" Target="../tags/tag209.xml"/><Relationship Id="rId1" Type="http://schemas.openxmlformats.org/officeDocument/2006/relationships/vmlDrawing" Target="../drawings/vmlDrawing206.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8.bin"/></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6.emf"/><Relationship Id="rId2" Type="http://schemas.openxmlformats.org/officeDocument/2006/relationships/tags" Target="../tags/tag210.xml"/><Relationship Id="rId1" Type="http://schemas.openxmlformats.org/officeDocument/2006/relationships/vmlDrawing" Target="../drawings/vmlDrawing207.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9.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6.emf"/><Relationship Id="rId2" Type="http://schemas.openxmlformats.org/officeDocument/2006/relationships/tags" Target="../tags/tag211.xml"/><Relationship Id="rId1" Type="http://schemas.openxmlformats.org/officeDocument/2006/relationships/vmlDrawing" Target="../drawings/vmlDrawing208.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10.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6.emf"/><Relationship Id="rId2" Type="http://schemas.openxmlformats.org/officeDocument/2006/relationships/tags" Target="../tags/tag212.xml"/><Relationship Id="rId1" Type="http://schemas.openxmlformats.org/officeDocument/2006/relationships/vmlDrawing" Target="../drawings/vmlDrawing209.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11.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6.emf"/><Relationship Id="rId2" Type="http://schemas.openxmlformats.org/officeDocument/2006/relationships/tags" Target="../tags/tag213.xml"/><Relationship Id="rId1" Type="http://schemas.openxmlformats.org/officeDocument/2006/relationships/vmlDrawing" Target="../drawings/vmlDrawing210.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12.bin"/></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7.emf"/><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image" Target="../media/image19.emf"/><Relationship Id="rId3" Type="http://schemas.openxmlformats.org/officeDocument/2006/relationships/image" Target="../media/image9.emf"/><Relationship Id="rId7" Type="http://schemas.openxmlformats.org/officeDocument/2006/relationships/image" Target="../media/image13.emf"/><Relationship Id="rId12" Type="http://schemas.openxmlformats.org/officeDocument/2006/relationships/image" Target="../media/image18.emf"/><Relationship Id="rId2" Type="http://schemas.openxmlformats.org/officeDocument/2006/relationships/image" Target="../media/image8.emf"/><Relationship Id="rId1" Type="http://schemas.openxmlformats.org/officeDocument/2006/relationships/slideMaster" Target="../slideMasters/slideMaster9.xml"/><Relationship Id="rId6" Type="http://schemas.openxmlformats.org/officeDocument/2006/relationships/image" Target="../media/image12.emf"/><Relationship Id="rId11" Type="http://schemas.openxmlformats.org/officeDocument/2006/relationships/image" Target="../media/image17.emf"/><Relationship Id="rId5" Type="http://schemas.openxmlformats.org/officeDocument/2006/relationships/image" Target="../media/image11.emf"/><Relationship Id="rId10" Type="http://schemas.openxmlformats.org/officeDocument/2006/relationships/image" Target="../media/image16.emf"/><Relationship Id="rId4" Type="http://schemas.openxmlformats.org/officeDocument/2006/relationships/image" Target="../media/image10.emf"/><Relationship Id="rId9" Type="http://schemas.openxmlformats.org/officeDocument/2006/relationships/image" Target="../media/image15.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6.emf"/><Relationship Id="rId13" Type="http://schemas.openxmlformats.org/officeDocument/2006/relationships/image" Target="../media/image31.emf"/><Relationship Id="rId18" Type="http://schemas.openxmlformats.org/officeDocument/2006/relationships/image" Target="../media/image36.emf"/><Relationship Id="rId3" Type="http://schemas.openxmlformats.org/officeDocument/2006/relationships/image" Target="../media/image21.emf"/><Relationship Id="rId7" Type="http://schemas.openxmlformats.org/officeDocument/2006/relationships/image" Target="../media/image25.emf"/><Relationship Id="rId12" Type="http://schemas.openxmlformats.org/officeDocument/2006/relationships/image" Target="../media/image30.emf"/><Relationship Id="rId17" Type="http://schemas.openxmlformats.org/officeDocument/2006/relationships/image" Target="../media/image35.emf"/><Relationship Id="rId2" Type="http://schemas.openxmlformats.org/officeDocument/2006/relationships/image" Target="../media/image20.emf"/><Relationship Id="rId16" Type="http://schemas.openxmlformats.org/officeDocument/2006/relationships/image" Target="../media/image34.emf"/><Relationship Id="rId1" Type="http://schemas.openxmlformats.org/officeDocument/2006/relationships/slideMaster" Target="../slideMasters/slideMaster9.xml"/><Relationship Id="rId6" Type="http://schemas.openxmlformats.org/officeDocument/2006/relationships/image" Target="../media/image24.emf"/><Relationship Id="rId11" Type="http://schemas.openxmlformats.org/officeDocument/2006/relationships/image" Target="../media/image29.emf"/><Relationship Id="rId5" Type="http://schemas.openxmlformats.org/officeDocument/2006/relationships/image" Target="../media/image23.emf"/><Relationship Id="rId15" Type="http://schemas.openxmlformats.org/officeDocument/2006/relationships/image" Target="../media/image33.emf"/><Relationship Id="rId10" Type="http://schemas.openxmlformats.org/officeDocument/2006/relationships/image" Target="../media/image28.emf"/><Relationship Id="rId4" Type="http://schemas.openxmlformats.org/officeDocument/2006/relationships/image" Target="../media/image22.emf"/><Relationship Id="rId9" Type="http://schemas.openxmlformats.org/officeDocument/2006/relationships/image" Target="../media/image27.emf"/><Relationship Id="rId14" Type="http://schemas.openxmlformats.org/officeDocument/2006/relationships/image" Target="../media/image32.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43.emf"/><Relationship Id="rId13" Type="http://schemas.openxmlformats.org/officeDocument/2006/relationships/image" Target="../media/image48.emf"/><Relationship Id="rId3" Type="http://schemas.openxmlformats.org/officeDocument/2006/relationships/image" Target="../media/image38.emf"/><Relationship Id="rId7" Type="http://schemas.openxmlformats.org/officeDocument/2006/relationships/image" Target="../media/image42.emf"/><Relationship Id="rId12" Type="http://schemas.openxmlformats.org/officeDocument/2006/relationships/image" Target="../media/image47.emf"/><Relationship Id="rId17" Type="http://schemas.openxmlformats.org/officeDocument/2006/relationships/image" Target="../media/image52.emf"/><Relationship Id="rId2" Type="http://schemas.openxmlformats.org/officeDocument/2006/relationships/image" Target="../media/image37.emf"/><Relationship Id="rId16" Type="http://schemas.openxmlformats.org/officeDocument/2006/relationships/image" Target="../media/image51.emf"/><Relationship Id="rId1" Type="http://schemas.openxmlformats.org/officeDocument/2006/relationships/slideMaster" Target="../slideMasters/slideMaster9.xml"/><Relationship Id="rId6" Type="http://schemas.openxmlformats.org/officeDocument/2006/relationships/image" Target="../media/image41.emf"/><Relationship Id="rId11" Type="http://schemas.openxmlformats.org/officeDocument/2006/relationships/image" Target="../media/image46.emf"/><Relationship Id="rId5" Type="http://schemas.openxmlformats.org/officeDocument/2006/relationships/image" Target="../media/image40.emf"/><Relationship Id="rId15" Type="http://schemas.openxmlformats.org/officeDocument/2006/relationships/image" Target="../media/image50.emf"/><Relationship Id="rId10" Type="http://schemas.openxmlformats.org/officeDocument/2006/relationships/image" Target="../media/image45.emf"/><Relationship Id="rId4" Type="http://schemas.openxmlformats.org/officeDocument/2006/relationships/image" Target="../media/image39.emf"/><Relationship Id="rId9" Type="http://schemas.openxmlformats.org/officeDocument/2006/relationships/image" Target="../media/image44.emf"/><Relationship Id="rId14" Type="http://schemas.openxmlformats.org/officeDocument/2006/relationships/image" Target="../media/image49.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59.emf"/><Relationship Id="rId13" Type="http://schemas.openxmlformats.org/officeDocument/2006/relationships/image" Target="../media/image64.emf"/><Relationship Id="rId18" Type="http://schemas.openxmlformats.org/officeDocument/2006/relationships/image" Target="../media/image69.emf"/><Relationship Id="rId3" Type="http://schemas.openxmlformats.org/officeDocument/2006/relationships/image" Target="../media/image54.emf"/><Relationship Id="rId7" Type="http://schemas.openxmlformats.org/officeDocument/2006/relationships/image" Target="../media/image58.emf"/><Relationship Id="rId12" Type="http://schemas.openxmlformats.org/officeDocument/2006/relationships/image" Target="../media/image63.emf"/><Relationship Id="rId17" Type="http://schemas.openxmlformats.org/officeDocument/2006/relationships/image" Target="../media/image68.emf"/><Relationship Id="rId2" Type="http://schemas.openxmlformats.org/officeDocument/2006/relationships/image" Target="../media/image53.emf"/><Relationship Id="rId16" Type="http://schemas.openxmlformats.org/officeDocument/2006/relationships/image" Target="../media/image67.emf"/><Relationship Id="rId1" Type="http://schemas.openxmlformats.org/officeDocument/2006/relationships/slideMaster" Target="../slideMasters/slideMaster9.xml"/><Relationship Id="rId6" Type="http://schemas.openxmlformats.org/officeDocument/2006/relationships/image" Target="../media/image57.emf"/><Relationship Id="rId11" Type="http://schemas.openxmlformats.org/officeDocument/2006/relationships/image" Target="../media/image62.emf"/><Relationship Id="rId5" Type="http://schemas.openxmlformats.org/officeDocument/2006/relationships/image" Target="../media/image56.emf"/><Relationship Id="rId15" Type="http://schemas.openxmlformats.org/officeDocument/2006/relationships/image" Target="../media/image66.emf"/><Relationship Id="rId10" Type="http://schemas.openxmlformats.org/officeDocument/2006/relationships/image" Target="../media/image61.emf"/><Relationship Id="rId4" Type="http://schemas.openxmlformats.org/officeDocument/2006/relationships/image" Target="../media/image55.emf"/><Relationship Id="rId9" Type="http://schemas.openxmlformats.org/officeDocument/2006/relationships/image" Target="../media/image60.emf"/><Relationship Id="rId14" Type="http://schemas.openxmlformats.org/officeDocument/2006/relationships/image" Target="../media/image65.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1.emf"/><Relationship Id="rId7" Type="http://schemas.openxmlformats.org/officeDocument/2006/relationships/image" Target="../media/image75.emf"/><Relationship Id="rId2" Type="http://schemas.openxmlformats.org/officeDocument/2006/relationships/image" Target="../media/image70.emf"/><Relationship Id="rId1" Type="http://schemas.openxmlformats.org/officeDocument/2006/relationships/slideMaster" Target="../slideMasters/slideMaster9.xml"/><Relationship Id="rId6" Type="http://schemas.openxmlformats.org/officeDocument/2006/relationships/image" Target="../media/image74.emf"/><Relationship Id="rId5" Type="http://schemas.openxmlformats.org/officeDocument/2006/relationships/image" Target="../media/image73.emf"/><Relationship Id="rId4" Type="http://schemas.openxmlformats.org/officeDocument/2006/relationships/image" Target="../media/image72.emf"/></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7.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6.emf"/><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6.emf"/><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6.emf"/><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6.emf"/><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6.emf"/><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6.emf"/><Relationship Id="rId2" Type="http://schemas.openxmlformats.org/officeDocument/2006/relationships/tags" Target="../tags/tag101.xml"/><Relationship Id="rId1" Type="http://schemas.openxmlformats.org/officeDocument/2006/relationships/vmlDrawing" Target="../drawings/vmlDrawing100.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6.emf"/><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0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85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799217"/>
            <a:ext cx="12305338" cy="455176"/>
          </a:xfrm>
          <a:prstGeom prst="rect">
            <a:avLst/>
          </a:prstGeom>
        </p:spPr>
        <p:txBody>
          <a:bodyPr/>
          <a:lstStyle>
            <a:lvl1pPr marL="0" indent="0" algn="l">
              <a:lnSpc>
                <a:spcPts val="14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60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955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3"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058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sp>
        <p:nvSpPr>
          <p:cNvPr id="4"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2_One Content">
    <p:spTree>
      <p:nvGrpSpPr>
        <p:cNvPr id="1" name=""/>
        <p:cNvGrpSpPr/>
        <p:nvPr/>
      </p:nvGrpSpPr>
      <p:grpSpPr>
        <a:xfrm>
          <a:off x="0" y="0"/>
          <a:ext cx="0" cy="0"/>
          <a:chOff x="0" y="0"/>
          <a:chExt cx="0" cy="0"/>
        </a:xfrm>
      </p:grpSpPr>
      <p:graphicFrame>
        <p:nvGraphicFramePr>
          <p:cNvPr id="11" name="Object 7" hidden="1"/>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41792" name="think-cell Slide" r:id="rId5" imgW="38100" imgH="38100" progId="">
                  <p:embed/>
                </p:oleObj>
              </mc:Choice>
              <mc:Fallback>
                <p:oleObj name="think-cell Slide" r:id="rId5" imgW="38100" imgH="381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cxnSp>
        <p:nvCxnSpPr>
          <p:cNvPr id="12" name="Straight Connector 11"/>
          <p:cNvCxnSpPr/>
          <p:nvPr/>
        </p:nvCxnSpPr>
        <p:spPr bwMode="gray">
          <a:xfrm>
            <a:off x="1" y="6791325"/>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graphicFrame>
        <p:nvGraphicFramePr>
          <p:cNvPr id="14" name="Object 8" hidden="1"/>
          <p:cNvGraphicFramePr>
            <a:graphicFrameLocks noChangeAspect="1"/>
          </p:cNvGraphicFramePr>
          <p:nvPr>
            <p:custDataLst>
              <p:tags r:id="rId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41793" name="think-cell Slide" r:id="rId7" imgW="38100" imgH="38100" progId="">
                  <p:embed/>
                </p:oleObj>
              </mc:Choice>
              <mc:Fallback>
                <p:oleObj name="think-cell Slide" r:id="rId7" imgW="38100" imgH="381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bwMode="gray"/>
        <p:txBody>
          <a:bodyPr/>
          <a:lstStyle/>
          <a:p>
            <a:r>
              <a:rPr lang="en-GB"/>
              <a:t>Click to edit Master title style</a:t>
            </a:r>
            <a:endParaRPr lang="en-US" dirty="0"/>
          </a:p>
        </p:txBody>
      </p:sp>
      <p:sp>
        <p:nvSpPr>
          <p:cNvPr id="9" name="Text Placeholder 13"/>
          <p:cNvSpPr>
            <a:spLocks noGrp="1"/>
          </p:cNvSpPr>
          <p:nvPr>
            <p:ph type="body" sz="quarter" idx="14"/>
          </p:nvPr>
        </p:nvSpPr>
        <p:spPr bwMode="gray">
          <a:xfrm>
            <a:off x="367441" y="806395"/>
            <a:ext cx="12423740" cy="436608"/>
          </a:xfrm>
        </p:spPr>
        <p:txBody>
          <a:bodyPr/>
          <a:lstStyle>
            <a:lvl1pPr>
              <a:lnSpc>
                <a:spcPts val="1500"/>
              </a:lnSpc>
              <a:buNone/>
              <a:defRPr sz="1400" b="1" baseline="0">
                <a:solidFill>
                  <a:schemeClr val="accent6"/>
                </a:solidFill>
              </a:defRPr>
            </a:lvl1pPr>
          </a:lstStyle>
          <a:p>
            <a:pPr lvl="0"/>
            <a:r>
              <a:rPr lang="en-GB"/>
              <a:t>Click to edit Master text styles</a:t>
            </a:r>
          </a:p>
        </p:txBody>
      </p:sp>
      <p:sp>
        <p:nvSpPr>
          <p:cNvPr id="10" name="Text Placeholder 13"/>
          <p:cNvSpPr>
            <a:spLocks noGrp="1"/>
          </p:cNvSpPr>
          <p:nvPr>
            <p:ph type="body" sz="quarter" idx="15" hasCustomPrompt="1"/>
          </p:nvPr>
        </p:nvSpPr>
        <p:spPr bwMode="gray">
          <a:xfrm>
            <a:off x="7079328" y="7048425"/>
            <a:ext cx="5977218" cy="308472"/>
          </a:xfrm>
          <a:ln>
            <a:noFill/>
          </a:ln>
        </p:spPr>
        <p:txBody>
          <a:bodyPr anchor="b"/>
          <a:lstStyle>
            <a:lvl1pPr algn="r">
              <a:lnSpc>
                <a:spcPts val="842"/>
              </a:lnSpc>
              <a:buNone/>
              <a:defRPr sz="800" b="0" baseline="0">
                <a:ln>
                  <a:noFill/>
                </a:ln>
                <a:solidFill>
                  <a:srgbClr val="000000"/>
                </a:solidFill>
              </a:defRPr>
            </a:lvl1pPr>
          </a:lstStyle>
          <a:p>
            <a:pPr lvl="0"/>
            <a:r>
              <a:rPr lang="en-GB" dirty="0"/>
              <a:t>Source: Arial 8pt</a:t>
            </a:r>
          </a:p>
        </p:txBody>
      </p:sp>
      <p:sp>
        <p:nvSpPr>
          <p:cNvPr id="7" name="Text Placeholder 13"/>
          <p:cNvSpPr>
            <a:spLocks noGrp="1"/>
          </p:cNvSpPr>
          <p:nvPr>
            <p:ph type="body" sz="quarter" idx="16"/>
          </p:nvPr>
        </p:nvSpPr>
        <p:spPr bwMode="gray">
          <a:xfrm>
            <a:off x="371671" y="1371821"/>
            <a:ext cx="8259575" cy="214058"/>
          </a:xfrm>
        </p:spPr>
        <p:txBody>
          <a:bodyPr/>
          <a:lstStyle>
            <a:lvl1pPr>
              <a:lnSpc>
                <a:spcPts val="1500"/>
              </a:lnSpc>
              <a:buNone/>
              <a:defRPr sz="1400" b="1" baseline="0">
                <a:solidFill>
                  <a:schemeClr val="bg1"/>
                </a:solidFill>
              </a:defRPr>
            </a:lvl1pPr>
          </a:lstStyle>
          <a:p>
            <a:pPr lvl="0"/>
            <a:r>
              <a:rPr lang="en-GB"/>
              <a:t>Click to edit Master text styles</a:t>
            </a:r>
          </a:p>
        </p:txBody>
      </p:sp>
      <p:sp>
        <p:nvSpPr>
          <p:cNvPr id="8" name="Text Placeholder 13"/>
          <p:cNvSpPr>
            <a:spLocks noGrp="1"/>
          </p:cNvSpPr>
          <p:nvPr>
            <p:ph type="body" sz="quarter" idx="17"/>
          </p:nvPr>
        </p:nvSpPr>
        <p:spPr bwMode="gray">
          <a:xfrm>
            <a:off x="371671" y="1576698"/>
            <a:ext cx="8259575" cy="248708"/>
          </a:xfrm>
        </p:spPr>
        <p:txBody>
          <a:bodyPr/>
          <a:lstStyle>
            <a:lvl1pPr>
              <a:lnSpc>
                <a:spcPts val="1500"/>
              </a:lnSpc>
              <a:buNone/>
              <a:defRPr sz="1400" b="1" baseline="0">
                <a:solidFill>
                  <a:schemeClr val="accent6"/>
                </a:solidFill>
              </a:defRPr>
            </a:lvl1pPr>
          </a:lstStyle>
          <a:p>
            <a:pPr lvl="0"/>
            <a:r>
              <a:rPr lang="en-GB"/>
              <a:t>Click to edit Master text styles</a:t>
            </a:r>
          </a:p>
        </p:txBody>
      </p:sp>
      <p:sp>
        <p:nvSpPr>
          <p:cNvPr id="3" name="Content Placeholder 2"/>
          <p:cNvSpPr>
            <a:spLocks noGrp="1"/>
          </p:cNvSpPr>
          <p:nvPr>
            <p:ph idx="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Front Pag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262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bwMode="gray">
          <a:xfrm>
            <a:off x="326002" y="5102474"/>
            <a:ext cx="12331696" cy="709383"/>
          </a:xfrm>
        </p:spPr>
        <p:txBody>
          <a:bodyPr wrap="square" anchor="t" anchorCtr="0"/>
          <a:lstStyle>
            <a:lvl1pPr algn="l">
              <a:lnSpc>
                <a:spcPts val="6000"/>
              </a:lnSpc>
              <a:defRPr sz="6600" baseline="0"/>
            </a:lvl1pPr>
          </a:lstStyle>
          <a:p>
            <a:r>
              <a:rPr lang="en-US" dirty="0"/>
              <a:t>Cover title</a:t>
            </a:r>
          </a:p>
        </p:txBody>
      </p:sp>
      <p:sp>
        <p:nvSpPr>
          <p:cNvPr id="3" name="Subtitle 2"/>
          <p:cNvSpPr>
            <a:spLocks noGrp="1"/>
          </p:cNvSpPr>
          <p:nvPr>
            <p:ph type="subTitle" idx="1" hasCustomPrompt="1"/>
          </p:nvPr>
        </p:nvSpPr>
        <p:spPr bwMode="gray">
          <a:xfrm>
            <a:off x="362649" y="5789963"/>
            <a:ext cx="12305338" cy="455176"/>
          </a:xfrm>
        </p:spPr>
        <p:txBody>
          <a:bodyPr/>
          <a:lstStyle>
            <a:lvl1pPr marL="0" indent="0" algn="l">
              <a:lnSpc>
                <a:spcPts val="1500"/>
              </a:lnSpc>
              <a:buNone/>
              <a:defRPr sz="1400" b="1" i="0">
                <a:solidFill>
                  <a:schemeClr val="bg1"/>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01 Date 0000 – Client</a:t>
            </a:r>
          </a:p>
          <a:p>
            <a:r>
              <a:rPr lang="en-US" dirty="0"/>
              <a:t>Subtitle</a:t>
            </a:r>
          </a:p>
        </p:txBody>
      </p:sp>
      <p:sp>
        <p:nvSpPr>
          <p:cNvPr id="8" name="Picture Placeholder 10"/>
          <p:cNvSpPr>
            <a:spLocks noGrp="1"/>
          </p:cNvSpPr>
          <p:nvPr>
            <p:ph type="pic" sz="quarter" idx="16"/>
          </p:nvPr>
        </p:nvSpPr>
        <p:spPr bwMode="gray">
          <a:xfrm>
            <a:off x="1" y="7"/>
            <a:ext cx="13442950" cy="4560250"/>
          </a:xfrm>
          <a:solidFill>
            <a:schemeClr val="accent5"/>
          </a:solidFill>
          <a:ln>
            <a:noFill/>
          </a:ln>
        </p:spPr>
        <p:txBody>
          <a:bodyPr tIns="1440000" anchor="t"/>
          <a:lstStyle>
            <a:lvl1pPr algn="ctr">
              <a:buNone/>
              <a:defRPr>
                <a:solidFill>
                  <a:srgbClr val="000000"/>
                </a:solidFill>
              </a:defRPr>
            </a:lvl1pPr>
          </a:lstStyle>
          <a:p>
            <a:r>
              <a:rPr lang="en-US"/>
              <a:t>Click icon to add picture</a:t>
            </a:r>
            <a:endParaRPr lang="en-US" dirty="0"/>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a:t>Source: Arial 7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355">
          <p15:clr>
            <a:srgbClr val="FBAE40"/>
          </p15:clr>
        </p15:guide>
        <p15:guide id="2" pos="3175">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cSld>
  <p:clrMapOvr>
    <a:masterClrMapping/>
  </p:clrMapOvr>
  <p:extLst mod="1">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End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04467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Title Placeholder 1"/>
          <p:cNvSpPr>
            <a:spLocks noGrp="1"/>
          </p:cNvSpPr>
          <p:nvPr>
            <p:ph type="title"/>
          </p:nvPr>
        </p:nvSpPr>
        <p:spPr bwMode="gray">
          <a:xfrm>
            <a:off x="486862" y="488844"/>
            <a:ext cx="12413343" cy="409568"/>
          </a:xfrm>
          <a:prstGeom prst="rect">
            <a:avLst/>
          </a:prstGeom>
          <a:ln>
            <a:noFill/>
          </a:ln>
        </p:spPr>
        <p:txBody>
          <a:bodyPr vert="horz" wrap="none" lIns="0" tIns="0" rIns="0" bIns="0" rtlCol="0" anchor="ctr">
            <a:noAutofit/>
          </a:bodyPr>
          <a:lstStyle>
            <a:lvl1pPr>
              <a:defRPr spc="0" baseline="0"/>
            </a:lvl1pPr>
          </a:lstStyle>
          <a:p>
            <a:r>
              <a:rPr lang="en-US" dirty="0"/>
              <a:t>HEADER CANNOT RUN OVER MORE THAN ONE LIN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Key Findings">
    <p:spTree>
      <p:nvGrpSpPr>
        <p:cNvPr id="1" name=""/>
        <p:cNvGrpSpPr/>
        <p:nvPr/>
      </p:nvGrpSpPr>
      <p:grpSpPr>
        <a:xfrm>
          <a:off x="0" y="0"/>
          <a:ext cx="0" cy="0"/>
          <a:chOff x="0" y="0"/>
          <a:chExt cx="0" cy="0"/>
        </a:xfrm>
      </p:grpSpPr>
      <p:sp>
        <p:nvSpPr>
          <p:cNvPr id="2" name="Title 1"/>
          <p:cNvSpPr>
            <a:spLocks noGrp="1"/>
          </p:cNvSpPr>
          <p:nvPr>
            <p:ph type="title"/>
          </p:nvPr>
        </p:nvSpPr>
        <p:spPr>
          <a:xfrm>
            <a:off x="844852" y="758949"/>
            <a:ext cx="12098656" cy="335568"/>
          </a:xfrm>
        </p:spPr>
        <p:txBody>
          <a:bodyPr/>
          <a:lstStyle/>
          <a:p>
            <a:r>
              <a:rPr lang="en-US" dirty="0"/>
              <a:t>Click to edit Master title style</a:t>
            </a:r>
          </a:p>
        </p:txBody>
      </p:sp>
      <p:sp>
        <p:nvSpPr>
          <p:cNvPr id="8" name="Text Placeholder 2"/>
          <p:cNvSpPr>
            <a:spLocks noGrp="1"/>
          </p:cNvSpPr>
          <p:nvPr>
            <p:ph type="body" idx="12" hasCustomPrompt="1"/>
          </p:nvPr>
        </p:nvSpPr>
        <p:spPr>
          <a:xfrm>
            <a:off x="854188" y="4666334"/>
            <a:ext cx="2079637" cy="303991"/>
          </a:xfrm>
        </p:spPr>
        <p:txBody>
          <a:bodyPr anchor="ctr" anchorCtr="0"/>
          <a:lstStyle>
            <a:lvl1pPr marL="0" indent="0" algn="ctr">
              <a:lnSpc>
                <a:spcPts val="2315"/>
              </a:lnSpc>
              <a:spcAft>
                <a:spcPts val="0"/>
              </a:spcAft>
              <a:buNone/>
              <a:defRPr sz="2000" b="0" i="0" cap="all" spc="0">
                <a:solidFill>
                  <a:schemeClr val="tx2"/>
                </a:solidFill>
                <a:latin typeface="Impact"/>
                <a:cs typeface="Impact"/>
              </a:defRPr>
            </a:lvl1pPr>
            <a:lvl2pPr marL="503830" indent="0">
              <a:buNone/>
              <a:defRPr sz="2200" b="1"/>
            </a:lvl2pPr>
            <a:lvl3pPr marL="1007663" indent="0">
              <a:buNone/>
              <a:defRPr sz="2000" b="1"/>
            </a:lvl3pPr>
            <a:lvl4pPr marL="1511493" indent="0">
              <a:buNone/>
              <a:defRPr sz="1800" b="1"/>
            </a:lvl4pPr>
            <a:lvl5pPr marL="2015325" indent="0">
              <a:buNone/>
              <a:defRPr sz="1800" b="1"/>
            </a:lvl5pPr>
            <a:lvl6pPr marL="2519156" indent="0">
              <a:buNone/>
              <a:defRPr sz="1800" b="1"/>
            </a:lvl6pPr>
            <a:lvl7pPr marL="3022986" indent="0">
              <a:buNone/>
              <a:defRPr sz="1800" b="1"/>
            </a:lvl7pPr>
            <a:lvl8pPr marL="3526818" indent="0">
              <a:buNone/>
              <a:defRPr sz="1800" b="1"/>
            </a:lvl8pPr>
            <a:lvl9pPr marL="4030648" indent="0">
              <a:buNone/>
              <a:defRPr sz="1800" b="1"/>
            </a:lvl9pPr>
          </a:lstStyle>
          <a:p>
            <a:pPr lvl="0"/>
            <a:r>
              <a:rPr lang="en-US" dirty="0"/>
              <a:t>TEXT</a:t>
            </a:r>
          </a:p>
        </p:txBody>
      </p:sp>
      <p:sp>
        <p:nvSpPr>
          <p:cNvPr id="9" name="Text Placeholder 2"/>
          <p:cNvSpPr>
            <a:spLocks noGrp="1"/>
          </p:cNvSpPr>
          <p:nvPr>
            <p:ph type="body" idx="13" hasCustomPrompt="1"/>
          </p:nvPr>
        </p:nvSpPr>
        <p:spPr>
          <a:xfrm>
            <a:off x="3267925" y="4666334"/>
            <a:ext cx="2079637" cy="303991"/>
          </a:xfrm>
        </p:spPr>
        <p:txBody>
          <a:bodyPr anchor="ctr" anchorCtr="0"/>
          <a:lstStyle>
            <a:lvl1pPr marL="0" indent="0" algn="ctr">
              <a:lnSpc>
                <a:spcPts val="2315"/>
              </a:lnSpc>
              <a:spcAft>
                <a:spcPts val="0"/>
              </a:spcAft>
              <a:buNone/>
              <a:defRPr sz="2000" b="0" i="0" cap="all" spc="0">
                <a:solidFill>
                  <a:schemeClr val="accent1"/>
                </a:solidFill>
                <a:latin typeface="Impact"/>
                <a:cs typeface="Impact"/>
              </a:defRPr>
            </a:lvl1pPr>
            <a:lvl2pPr marL="503830" indent="0">
              <a:buNone/>
              <a:defRPr sz="2200" b="1"/>
            </a:lvl2pPr>
            <a:lvl3pPr marL="1007663" indent="0">
              <a:buNone/>
              <a:defRPr sz="2000" b="1"/>
            </a:lvl3pPr>
            <a:lvl4pPr marL="1511493" indent="0">
              <a:buNone/>
              <a:defRPr sz="1800" b="1"/>
            </a:lvl4pPr>
            <a:lvl5pPr marL="2015325" indent="0">
              <a:buNone/>
              <a:defRPr sz="1800" b="1"/>
            </a:lvl5pPr>
            <a:lvl6pPr marL="2519156" indent="0">
              <a:buNone/>
              <a:defRPr sz="1800" b="1"/>
            </a:lvl6pPr>
            <a:lvl7pPr marL="3022986" indent="0">
              <a:buNone/>
              <a:defRPr sz="1800" b="1"/>
            </a:lvl7pPr>
            <a:lvl8pPr marL="3526818" indent="0">
              <a:buNone/>
              <a:defRPr sz="1800" b="1"/>
            </a:lvl8pPr>
            <a:lvl9pPr marL="4030648" indent="0">
              <a:buNone/>
              <a:defRPr sz="1800" b="1"/>
            </a:lvl9pPr>
          </a:lstStyle>
          <a:p>
            <a:pPr lvl="0"/>
            <a:r>
              <a:rPr lang="en-US" dirty="0"/>
              <a:t>TEXT</a:t>
            </a:r>
          </a:p>
        </p:txBody>
      </p:sp>
      <p:sp>
        <p:nvSpPr>
          <p:cNvPr id="10" name="Text Placeholder 2"/>
          <p:cNvSpPr>
            <a:spLocks noGrp="1"/>
          </p:cNvSpPr>
          <p:nvPr>
            <p:ph type="body" idx="14" hasCustomPrompt="1"/>
          </p:nvPr>
        </p:nvSpPr>
        <p:spPr>
          <a:xfrm>
            <a:off x="5681661" y="4666334"/>
            <a:ext cx="2079637" cy="303991"/>
          </a:xfrm>
        </p:spPr>
        <p:txBody>
          <a:bodyPr anchor="ctr" anchorCtr="0"/>
          <a:lstStyle>
            <a:lvl1pPr marL="0" indent="0" algn="ctr">
              <a:lnSpc>
                <a:spcPts val="2315"/>
              </a:lnSpc>
              <a:spcAft>
                <a:spcPts val="0"/>
              </a:spcAft>
              <a:buNone/>
              <a:defRPr sz="2000" b="0" i="0" cap="all" spc="0">
                <a:solidFill>
                  <a:schemeClr val="bg2"/>
                </a:solidFill>
                <a:latin typeface="Impact"/>
                <a:cs typeface="Impact"/>
              </a:defRPr>
            </a:lvl1pPr>
            <a:lvl2pPr marL="503830" indent="0">
              <a:buNone/>
              <a:defRPr sz="2200" b="1"/>
            </a:lvl2pPr>
            <a:lvl3pPr marL="1007663" indent="0">
              <a:buNone/>
              <a:defRPr sz="2000" b="1"/>
            </a:lvl3pPr>
            <a:lvl4pPr marL="1511493" indent="0">
              <a:buNone/>
              <a:defRPr sz="1800" b="1"/>
            </a:lvl4pPr>
            <a:lvl5pPr marL="2015325" indent="0">
              <a:buNone/>
              <a:defRPr sz="1800" b="1"/>
            </a:lvl5pPr>
            <a:lvl6pPr marL="2519156" indent="0">
              <a:buNone/>
              <a:defRPr sz="1800" b="1"/>
            </a:lvl6pPr>
            <a:lvl7pPr marL="3022986" indent="0">
              <a:buNone/>
              <a:defRPr sz="1800" b="1"/>
            </a:lvl7pPr>
            <a:lvl8pPr marL="3526818" indent="0">
              <a:buNone/>
              <a:defRPr sz="1800" b="1"/>
            </a:lvl8pPr>
            <a:lvl9pPr marL="4030648" indent="0">
              <a:buNone/>
              <a:defRPr sz="1800" b="1"/>
            </a:lvl9pPr>
          </a:lstStyle>
          <a:p>
            <a:pPr lvl="0"/>
            <a:r>
              <a:rPr lang="en-US" dirty="0"/>
              <a:t>TEXT</a:t>
            </a:r>
          </a:p>
        </p:txBody>
      </p:sp>
      <p:sp>
        <p:nvSpPr>
          <p:cNvPr id="11" name="Text Placeholder 2"/>
          <p:cNvSpPr>
            <a:spLocks noGrp="1"/>
          </p:cNvSpPr>
          <p:nvPr>
            <p:ph type="body" idx="15" hasCustomPrompt="1"/>
          </p:nvPr>
        </p:nvSpPr>
        <p:spPr>
          <a:xfrm>
            <a:off x="8095391" y="4666334"/>
            <a:ext cx="2079637" cy="303991"/>
          </a:xfrm>
        </p:spPr>
        <p:txBody>
          <a:bodyPr anchor="ctr" anchorCtr="0"/>
          <a:lstStyle>
            <a:lvl1pPr marL="0" indent="0" algn="ctr">
              <a:lnSpc>
                <a:spcPts val="2315"/>
              </a:lnSpc>
              <a:spcAft>
                <a:spcPts val="0"/>
              </a:spcAft>
              <a:buNone/>
              <a:defRPr sz="2000" b="0" i="0" cap="all" spc="0">
                <a:solidFill>
                  <a:schemeClr val="accent2"/>
                </a:solidFill>
                <a:latin typeface="Impact"/>
                <a:cs typeface="Impact"/>
              </a:defRPr>
            </a:lvl1pPr>
            <a:lvl2pPr marL="503830" indent="0">
              <a:buNone/>
              <a:defRPr sz="2200" b="1"/>
            </a:lvl2pPr>
            <a:lvl3pPr marL="1007663" indent="0">
              <a:buNone/>
              <a:defRPr sz="2000" b="1"/>
            </a:lvl3pPr>
            <a:lvl4pPr marL="1511493" indent="0">
              <a:buNone/>
              <a:defRPr sz="1800" b="1"/>
            </a:lvl4pPr>
            <a:lvl5pPr marL="2015325" indent="0">
              <a:buNone/>
              <a:defRPr sz="1800" b="1"/>
            </a:lvl5pPr>
            <a:lvl6pPr marL="2519156" indent="0">
              <a:buNone/>
              <a:defRPr sz="1800" b="1"/>
            </a:lvl6pPr>
            <a:lvl7pPr marL="3022986" indent="0">
              <a:buNone/>
              <a:defRPr sz="1800" b="1"/>
            </a:lvl7pPr>
            <a:lvl8pPr marL="3526818" indent="0">
              <a:buNone/>
              <a:defRPr sz="1800" b="1"/>
            </a:lvl8pPr>
            <a:lvl9pPr marL="4030648" indent="0">
              <a:buNone/>
              <a:defRPr sz="1800" b="1"/>
            </a:lvl9pPr>
          </a:lstStyle>
          <a:p>
            <a:pPr lvl="0"/>
            <a:r>
              <a:rPr lang="en-US" dirty="0"/>
              <a:t>TEXT</a:t>
            </a:r>
          </a:p>
        </p:txBody>
      </p:sp>
      <p:sp>
        <p:nvSpPr>
          <p:cNvPr id="12" name="Text Placeholder 2"/>
          <p:cNvSpPr>
            <a:spLocks noGrp="1"/>
          </p:cNvSpPr>
          <p:nvPr>
            <p:ph type="body" idx="16" hasCustomPrompt="1"/>
          </p:nvPr>
        </p:nvSpPr>
        <p:spPr>
          <a:xfrm>
            <a:off x="10509128" y="4666334"/>
            <a:ext cx="2079637" cy="303991"/>
          </a:xfrm>
        </p:spPr>
        <p:txBody>
          <a:bodyPr anchor="ctr" anchorCtr="0"/>
          <a:lstStyle>
            <a:lvl1pPr marL="0" indent="0" algn="ctr">
              <a:lnSpc>
                <a:spcPts val="2315"/>
              </a:lnSpc>
              <a:spcAft>
                <a:spcPts val="0"/>
              </a:spcAft>
              <a:buNone/>
              <a:defRPr sz="2000" b="0" i="0" cap="all" spc="0">
                <a:solidFill>
                  <a:schemeClr val="accent3"/>
                </a:solidFill>
                <a:latin typeface="Impact"/>
                <a:cs typeface="Impact"/>
              </a:defRPr>
            </a:lvl1pPr>
            <a:lvl2pPr marL="503830" indent="0">
              <a:buNone/>
              <a:defRPr sz="2200" b="1"/>
            </a:lvl2pPr>
            <a:lvl3pPr marL="1007663" indent="0">
              <a:buNone/>
              <a:defRPr sz="2000" b="1"/>
            </a:lvl3pPr>
            <a:lvl4pPr marL="1511493" indent="0">
              <a:buNone/>
              <a:defRPr sz="1800" b="1"/>
            </a:lvl4pPr>
            <a:lvl5pPr marL="2015325" indent="0">
              <a:buNone/>
              <a:defRPr sz="1800" b="1"/>
            </a:lvl5pPr>
            <a:lvl6pPr marL="2519156" indent="0">
              <a:buNone/>
              <a:defRPr sz="1800" b="1"/>
            </a:lvl6pPr>
            <a:lvl7pPr marL="3022986" indent="0">
              <a:buNone/>
              <a:defRPr sz="1800" b="1"/>
            </a:lvl7pPr>
            <a:lvl8pPr marL="3526818" indent="0">
              <a:buNone/>
              <a:defRPr sz="1800" b="1"/>
            </a:lvl8pPr>
            <a:lvl9pPr marL="4030648" indent="0">
              <a:buNone/>
              <a:defRPr sz="1800" b="1"/>
            </a:lvl9pPr>
          </a:lstStyle>
          <a:p>
            <a:pPr lvl="0"/>
            <a:r>
              <a:rPr lang="en-US" dirty="0"/>
              <a:t>TEXT</a:t>
            </a:r>
          </a:p>
        </p:txBody>
      </p:sp>
    </p:spTree>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xmlns:p14="http://schemas.microsoft.com/office/powerpoint/2010/mai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570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69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3_Title Slide">
    <p:bg>
      <p:bgPr>
        <a:solidFill>
          <a:schemeClr val="bg1">
            <a:alpha val="0"/>
          </a:schemeClr>
        </a:solidFill>
        <a:effectLst/>
      </p:bgPr>
    </p:bg>
    <p:spTree>
      <p:nvGrpSpPr>
        <p:cNvPr id="1" name=""/>
        <p:cNvGrpSpPr/>
        <p:nvPr/>
      </p:nvGrpSpPr>
      <p:grpSpPr>
        <a:xfrm>
          <a:off x="0" y="0"/>
          <a:ext cx="0" cy="0"/>
          <a:chOff x="0" y="0"/>
          <a:chExt cx="0" cy="0"/>
        </a:xfrm>
      </p:grpSpPr>
    </p:spTree>
    <p:extLst/>
  </p:cSld>
  <p:clrMapOvr>
    <a:masterClrMapping/>
  </p:clrMapOvr>
  <p:extLst mod="1">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0457"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1" cy="436608"/>
          </a:xfrm>
          <a:prstGeom prst="rect">
            <a:avLst/>
          </a:prstGeom>
        </p:spPr>
        <p:txBody>
          <a:bodyPr anchor="t" anchorCtr="0"/>
          <a:lstStyle>
            <a:lvl1pPr>
              <a:lnSpc>
                <a:spcPts val="1500"/>
              </a:lnSpc>
              <a:buNone/>
              <a:defRPr sz="1401"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2" y="1371822"/>
            <a:ext cx="8259575" cy="214059"/>
          </a:xfrm>
          <a:prstGeom prst="rect">
            <a:avLst/>
          </a:prstGeom>
        </p:spPr>
        <p:txBody>
          <a:bodyPr anchor="t" anchorCtr="0"/>
          <a:lstStyle>
            <a:lvl1pPr>
              <a:lnSpc>
                <a:spcPts val="1500"/>
              </a:lnSpc>
              <a:buNone/>
              <a:defRPr sz="1401"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2" y="1576697"/>
            <a:ext cx="8259575" cy="248708"/>
          </a:xfrm>
          <a:prstGeom prst="rect">
            <a:avLst/>
          </a:prstGeom>
        </p:spPr>
        <p:txBody>
          <a:bodyPr anchor="t" anchorCtr="0"/>
          <a:lstStyle>
            <a:lvl1pPr>
              <a:lnSpc>
                <a:spcPts val="1500"/>
              </a:lnSpc>
              <a:buNone/>
              <a:defRPr sz="1401"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2"/>
            <a:ext cx="8426276" cy="4210169"/>
          </a:xfrm>
          <a:prstGeom prst="rect">
            <a:avLst/>
          </a:prstGeom>
        </p:spPr>
        <p:txBody>
          <a:bodyPr/>
          <a:lstStyle>
            <a:lvl1pPr>
              <a:lnSpc>
                <a:spcPts val="2001"/>
              </a:lnSpc>
              <a:defRPr sz="1799">
                <a:solidFill>
                  <a:schemeClr val="tx2"/>
                </a:solidFill>
              </a:defRPr>
            </a:lvl1pPr>
            <a:lvl2pPr>
              <a:lnSpc>
                <a:spcPts val="2001"/>
              </a:lnSpc>
              <a:defRPr sz="1799" b="0">
                <a:solidFill>
                  <a:schemeClr val="bg1"/>
                </a:solidFill>
              </a:defRPr>
            </a:lvl2pPr>
            <a:lvl3pPr>
              <a:lnSpc>
                <a:spcPts val="1500"/>
              </a:lnSpc>
              <a:defRPr/>
            </a:lvl3pPr>
            <a:lvl4pPr>
              <a:defRPr lang="en-US" sz="1401"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148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1" cy="436608"/>
          </a:xfrm>
          <a:prstGeom prst="rect">
            <a:avLst/>
          </a:prstGeom>
        </p:spPr>
        <p:txBody>
          <a:bodyPr anchor="t" anchorCtr="0"/>
          <a:lstStyle>
            <a:lvl1pPr>
              <a:lnSpc>
                <a:spcPts val="1500"/>
              </a:lnSpc>
              <a:buNone/>
              <a:defRPr sz="1401"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2" y="1371822"/>
            <a:ext cx="8259575" cy="214059"/>
          </a:xfrm>
          <a:prstGeom prst="rect">
            <a:avLst/>
          </a:prstGeom>
        </p:spPr>
        <p:txBody>
          <a:bodyPr anchor="t" anchorCtr="0"/>
          <a:lstStyle>
            <a:lvl1pPr>
              <a:lnSpc>
                <a:spcPts val="1500"/>
              </a:lnSpc>
              <a:buNone/>
              <a:defRPr sz="1401"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2" y="1576697"/>
            <a:ext cx="8259575" cy="248708"/>
          </a:xfrm>
          <a:prstGeom prst="rect">
            <a:avLst/>
          </a:prstGeom>
        </p:spPr>
        <p:txBody>
          <a:bodyPr anchor="t" anchorCtr="0"/>
          <a:lstStyle>
            <a:lvl1pPr>
              <a:lnSpc>
                <a:spcPts val="1500"/>
              </a:lnSpc>
              <a:buNone/>
              <a:defRPr sz="1401"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2"/>
            <a:ext cx="8426276" cy="4210169"/>
          </a:xfrm>
          <a:prstGeom prst="rect">
            <a:avLst/>
          </a:prstGeom>
        </p:spPr>
        <p:txBody>
          <a:bodyPr/>
          <a:lstStyle>
            <a:lvl1pPr>
              <a:lnSpc>
                <a:spcPts val="2001"/>
              </a:lnSpc>
              <a:defRPr sz="1799">
                <a:solidFill>
                  <a:schemeClr val="tx2"/>
                </a:solidFill>
              </a:defRPr>
            </a:lvl1pPr>
            <a:lvl2pPr>
              <a:lnSpc>
                <a:spcPts val="1599"/>
              </a:lnSpc>
              <a:defRPr sz="1401" b="0">
                <a:solidFill>
                  <a:schemeClr val="bg1"/>
                </a:solidFill>
              </a:defRPr>
            </a:lvl2pPr>
            <a:lvl3pPr>
              <a:lnSpc>
                <a:spcPts val="1500"/>
              </a:lnSpc>
              <a:defRPr/>
            </a:lvl3pPr>
            <a:lvl4pPr>
              <a:defRPr lang="en-US" sz="1401"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2"/>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1008195"/>
            <a:endParaRPr lang="en-GB" sz="1899" dirty="0">
              <a:solidFill>
                <a:srgbClr val="000000"/>
              </a:solidFill>
            </a:endParaRPr>
          </a:p>
        </p:txBody>
      </p:sp>
      <p:graphicFrame>
        <p:nvGraphicFramePr>
          <p:cNvPr id="8" name="Object 7"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2505"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5"/>
            <a:ext cx="12507236" cy="5405438"/>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7"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1" cy="3106574"/>
          </a:xfrm>
          <a:prstGeom prst="rect">
            <a:avLst/>
          </a:prstGeom>
          <a:ln w="0" cap="flat" cmpd="sng" algn="ctr">
            <a:noFill/>
            <a:prstDash val="solid"/>
            <a:round/>
            <a:headEnd type="none" w="med" len="med"/>
            <a:tailEnd type="none" w="med" len="med"/>
          </a:ln>
        </p:spPr>
        <p:txBody>
          <a:bodyPr anchor="ctr" anchorCtr="1"/>
          <a:lstStyle>
            <a:lvl1pPr algn="ctr">
              <a:lnSpc>
                <a:spcPts val="2001"/>
              </a:lnSpc>
              <a:buNone/>
              <a:defRPr sz="1799"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3529"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53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3" y="1372457"/>
            <a:ext cx="8259575"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3" y="1577332"/>
            <a:ext cx="8259575"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9" y="1902927"/>
            <a:ext cx="5235066" cy="4218272"/>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lang="en-US" sz="1401"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3" y="1902927"/>
            <a:ext cx="5232045" cy="4218272"/>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4553"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53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2" y="1364836"/>
            <a:ext cx="8259575"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2" y="1569713"/>
            <a:ext cx="8259575"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5"/>
            <a:ext cx="8429894" cy="3784533"/>
          </a:xfrm>
          <a:prstGeom prst="rect">
            <a:avLst/>
          </a:prstGeom>
        </p:spPr>
        <p:txBody>
          <a:bodyPr/>
          <a:lstStyle>
            <a:lvl1pPr>
              <a:lnSpc>
                <a:spcPts val="2001"/>
              </a:lnSpc>
              <a:defRPr sz="1799">
                <a:solidFill>
                  <a:schemeClr val="tx2"/>
                </a:solidFill>
              </a:defRPr>
            </a:lvl1pPr>
            <a:lvl2pPr>
              <a:lnSpc>
                <a:spcPts val="1599"/>
              </a:lnSpc>
              <a:defRPr sz="1401" b="0">
                <a:solidFill>
                  <a:schemeClr val="bg1"/>
                </a:solidFill>
              </a:defRPr>
            </a:lvl2pPr>
            <a:lvl3pPr>
              <a:lnSpc>
                <a:spcPts val="1500"/>
              </a:lnSpc>
              <a:defRPr/>
            </a:lvl3pPr>
            <a:lvl4pPr>
              <a:lnSpc>
                <a:spcPts val="1599"/>
              </a:lnSpc>
              <a:defRPr lang="en-US" sz="1401"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5577"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53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2" y="1364836"/>
            <a:ext cx="8259575"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2" y="1569713"/>
            <a:ext cx="8259575"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5"/>
            <a:ext cx="8429894" cy="3784533"/>
          </a:xfrm>
          <a:prstGeom prst="rect">
            <a:avLst/>
          </a:prstGeom>
        </p:spPr>
        <p:txBody>
          <a:bodyPr/>
          <a:lstStyle>
            <a:lvl1pPr>
              <a:lnSpc>
                <a:spcPts val="2001"/>
              </a:lnSpc>
              <a:defRPr sz="1799">
                <a:solidFill>
                  <a:schemeClr val="tx2"/>
                </a:solidFill>
              </a:defRPr>
            </a:lvl1pPr>
            <a:lvl2pPr>
              <a:lnSpc>
                <a:spcPts val="2001"/>
              </a:lnSpc>
              <a:defRPr sz="1799" b="0">
                <a:solidFill>
                  <a:schemeClr val="bg1"/>
                </a:solidFill>
              </a:defRPr>
            </a:lvl2pPr>
            <a:lvl3pPr>
              <a:lnSpc>
                <a:spcPts val="1500"/>
              </a:lnSpc>
              <a:defRPr/>
            </a:lvl3pPr>
            <a:lvl4pPr>
              <a:lnSpc>
                <a:spcPts val="1599"/>
              </a:lnSpc>
              <a:defRPr lang="en-US" sz="1401"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660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54347"/>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9" y="2461175"/>
            <a:ext cx="5238453" cy="3788814"/>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lang="en-US" sz="1401"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6" y="1362297"/>
            <a:ext cx="8259575"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6" y="1567173"/>
            <a:ext cx="8259575"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3" y="2468632"/>
            <a:ext cx="5236702" cy="3781359"/>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7625"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54347"/>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9" y="1374361"/>
            <a:ext cx="4036622"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9" y="1579237"/>
            <a:ext cx="4036622"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8" y="1374361"/>
            <a:ext cx="4036622"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8" y="1579237"/>
            <a:ext cx="4036622"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6" y="1374361"/>
            <a:ext cx="4036622"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6" y="1579237"/>
            <a:ext cx="4036622"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6" y="2458636"/>
            <a:ext cx="4133323" cy="3543733"/>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70" y="2459740"/>
            <a:ext cx="4124126" cy="3543733"/>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2" y="2452724"/>
            <a:ext cx="4165677" cy="3543733"/>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8649"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54347"/>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8" y="812746"/>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8" y="2467964"/>
            <a:ext cx="4169765" cy="1026125"/>
          </a:xfrm>
          <a:prstGeom prst="rect">
            <a:avLst/>
          </a:prstGeom>
        </p:spPr>
        <p:txBody>
          <a:bodyPr anchor="ct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2" y="3548041"/>
            <a:ext cx="4169765" cy="1054123"/>
          </a:xfrm>
          <a:prstGeom prst="rect">
            <a:avLst/>
          </a:prstGeom>
        </p:spPr>
        <p:txBody>
          <a:bodyPr anchor="ct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3" y="2458715"/>
            <a:ext cx="4128151" cy="1035373"/>
          </a:xfrm>
          <a:prstGeom prst="rect">
            <a:avLst/>
          </a:prstGeom>
        </p:spPr>
        <p:txBody>
          <a:bodyPr anchor="ct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9"/>
            <a:ext cx="4113557" cy="1042396"/>
          </a:xfrm>
          <a:prstGeom prst="rect">
            <a:avLst/>
          </a:prstGeom>
        </p:spPr>
        <p:txBody>
          <a:bodyPr anchor="ct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395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4" name="Text Placeholder 3"/>
          <p:cNvSpPr>
            <a:spLocks noGrp="1"/>
          </p:cNvSpPr>
          <p:nvPr>
            <p:ph type="body" sz="quarter" idx="10" hasCustomPrompt="1"/>
          </p:nvPr>
        </p:nvSpPr>
        <p:spPr bwMode="gray">
          <a:xfrm>
            <a:off x="1458614" y="1404920"/>
            <a:ext cx="10555363" cy="4291030"/>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9673"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4" y="2467963"/>
            <a:ext cx="4162147"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8" y="3548042"/>
            <a:ext cx="4159423"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60"/>
            <a:ext cx="4163716"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8"/>
            <a:ext cx="4148473"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7" y="35153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4" y="1368646"/>
            <a:ext cx="8209109"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4" y="1583048"/>
            <a:ext cx="8209109"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90697"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3" cy="1003948"/>
          </a:xfrm>
          <a:prstGeom prst="rect">
            <a:avLst/>
          </a:prstGeom>
        </p:spPr>
        <p:txBody>
          <a:bodyPr/>
          <a:lstStyle>
            <a:lvl1pPr algn="ctr">
              <a:lnSpc>
                <a:spcPts val="2001"/>
              </a:lnSpc>
              <a:defRPr sz="1799" baseline="0">
                <a:solidFill>
                  <a:schemeClr val="bg2"/>
                </a:solidFill>
              </a:defRPr>
            </a:lvl1pPr>
            <a:lvl2pPr algn="ctr">
              <a:lnSpc>
                <a:spcPts val="2001"/>
              </a:lnSpc>
              <a:defRPr sz="1799" b="0">
                <a:solidFill>
                  <a:schemeClr val="bg1"/>
                </a:solidFill>
              </a:defRPr>
            </a:lvl2pPr>
            <a:lvl3pPr algn="ctr">
              <a:lnSpc>
                <a:spcPts val="1500"/>
              </a:lnSpc>
              <a:defRPr>
                <a:solidFill>
                  <a:schemeClr val="bg2"/>
                </a:solidFill>
              </a:defRPr>
            </a:lvl3pPr>
            <a:lvl4pPr algn="ctr">
              <a:lnSpc>
                <a:spcPts val="1500"/>
              </a:lnSpc>
              <a:defRPr lang="en-US" sz="1401"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4" y="3557878"/>
            <a:ext cx="3088537" cy="1003948"/>
          </a:xfrm>
          <a:prstGeom prst="rect">
            <a:avLst/>
          </a:prstGeom>
        </p:spPr>
        <p:txBody>
          <a:bodyPr/>
          <a:lstStyle>
            <a:lvl1pPr algn="ctr">
              <a:lnSpc>
                <a:spcPts val="2001"/>
              </a:lnSpc>
              <a:defRPr sz="1799" baseline="0">
                <a:solidFill>
                  <a:schemeClr val="bg2"/>
                </a:solidFill>
              </a:defRPr>
            </a:lvl1pPr>
            <a:lvl2pPr algn="ctr">
              <a:lnSpc>
                <a:spcPts val="2001"/>
              </a:lnSpc>
              <a:defRPr sz="1799" b="0">
                <a:solidFill>
                  <a:schemeClr val="bg1"/>
                </a:solidFill>
              </a:defRPr>
            </a:lvl2pPr>
            <a:lvl3pPr algn="ctr">
              <a:lnSpc>
                <a:spcPts val="1500"/>
              </a:lnSpc>
              <a:defRPr>
                <a:solidFill>
                  <a:schemeClr val="bg2"/>
                </a:solidFill>
              </a:defRPr>
            </a:lvl3pPr>
            <a:lvl4pPr algn="ctr">
              <a:lnSpc>
                <a:spcPts val="1500"/>
              </a:lnSpc>
              <a:defRPr lang="en-US" sz="1401"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4"/>
            <a:ext cx="3097100" cy="1003948"/>
          </a:xfrm>
          <a:prstGeom prst="rect">
            <a:avLst/>
          </a:prstGeom>
        </p:spPr>
        <p:txBody>
          <a:bodyPr/>
          <a:lstStyle>
            <a:lvl1pPr algn="ctr">
              <a:lnSpc>
                <a:spcPts val="2001"/>
              </a:lnSpc>
              <a:defRPr sz="1799" baseline="0">
                <a:solidFill>
                  <a:schemeClr val="bg2"/>
                </a:solidFill>
              </a:defRPr>
            </a:lvl1pPr>
            <a:lvl2pPr algn="ctr">
              <a:lnSpc>
                <a:spcPts val="2001"/>
              </a:lnSpc>
              <a:defRPr sz="1799" b="0">
                <a:solidFill>
                  <a:schemeClr val="bg1"/>
                </a:solidFill>
              </a:defRPr>
            </a:lvl2pPr>
            <a:lvl3pPr algn="ctr">
              <a:lnSpc>
                <a:spcPts val="1500"/>
              </a:lnSpc>
              <a:defRPr>
                <a:solidFill>
                  <a:schemeClr val="bg2"/>
                </a:solidFill>
              </a:defRPr>
            </a:lvl3pPr>
            <a:lvl4pPr algn="ctr">
              <a:lnSpc>
                <a:spcPts val="1500"/>
              </a:lnSpc>
              <a:defRPr lang="en-US" sz="1401"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7"/>
            <a:ext cx="3088946" cy="1003948"/>
          </a:xfrm>
          <a:prstGeom prst="rect">
            <a:avLst/>
          </a:prstGeom>
        </p:spPr>
        <p:txBody>
          <a:bodyPr/>
          <a:lstStyle>
            <a:lvl1pPr algn="ctr">
              <a:lnSpc>
                <a:spcPts val="2001"/>
              </a:lnSpc>
              <a:defRPr sz="1799" baseline="0">
                <a:solidFill>
                  <a:schemeClr val="bg2"/>
                </a:solidFill>
              </a:defRPr>
            </a:lvl1pPr>
            <a:lvl2pPr algn="ctr">
              <a:lnSpc>
                <a:spcPts val="2001"/>
              </a:lnSpc>
              <a:defRPr sz="1799" b="0">
                <a:solidFill>
                  <a:schemeClr val="bg1"/>
                </a:solidFill>
              </a:defRPr>
            </a:lvl2pPr>
            <a:lvl3pPr algn="ctr">
              <a:lnSpc>
                <a:spcPts val="1500"/>
              </a:lnSpc>
              <a:defRPr>
                <a:solidFill>
                  <a:schemeClr val="bg2"/>
                </a:solidFill>
              </a:defRPr>
            </a:lvl3pPr>
            <a:lvl4pPr algn="ctr">
              <a:lnSpc>
                <a:spcPts val="1500"/>
              </a:lnSpc>
              <a:defRPr lang="en-US" sz="1401"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7" y="35153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5" y="1357942"/>
            <a:ext cx="8209109"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5" y="1584953"/>
            <a:ext cx="8209109"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70" y="2505077"/>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1" b="0">
                <a:solidFill>
                  <a:srgbClr val="FFFFFF"/>
                </a:solidFill>
              </a:defRPr>
            </a:lvl1pPr>
            <a:lvl2pPr>
              <a:lnSpc>
                <a:spcPct val="100000"/>
              </a:lnSpc>
              <a:defRPr sz="1401" b="0">
                <a:solidFill>
                  <a:srgbClr val="FFFFFF"/>
                </a:solidFill>
              </a:defRPr>
            </a:lvl2pPr>
            <a:lvl3pPr>
              <a:lnSpc>
                <a:spcPct val="100000"/>
              </a:lnSpc>
              <a:defRPr sz="1401" b="0">
                <a:solidFill>
                  <a:srgbClr val="FFFFFF"/>
                </a:solidFill>
              </a:defRPr>
            </a:lvl3pPr>
            <a:lvl4pPr>
              <a:lnSpc>
                <a:spcPct val="100000"/>
              </a:lnSpc>
              <a:defRPr sz="1401" b="0">
                <a:solidFill>
                  <a:srgbClr val="FFFFFF"/>
                </a:solidFill>
              </a:defRPr>
            </a:lvl4pPr>
            <a:lvl5pPr>
              <a:lnSpc>
                <a:spcPct val="100000"/>
              </a:lnSpc>
              <a:defRPr sz="1401"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7" y="2505077"/>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1" b="0">
                <a:solidFill>
                  <a:srgbClr val="FFFFFF"/>
                </a:solidFill>
              </a:defRPr>
            </a:lvl1pPr>
            <a:lvl2pPr>
              <a:lnSpc>
                <a:spcPct val="100000"/>
              </a:lnSpc>
              <a:defRPr sz="1401" b="0">
                <a:solidFill>
                  <a:srgbClr val="FFFFFF"/>
                </a:solidFill>
              </a:defRPr>
            </a:lvl2pPr>
            <a:lvl3pPr>
              <a:lnSpc>
                <a:spcPct val="100000"/>
              </a:lnSpc>
              <a:defRPr sz="1401" b="0">
                <a:solidFill>
                  <a:srgbClr val="FFFFFF"/>
                </a:solidFill>
              </a:defRPr>
            </a:lvl3pPr>
            <a:lvl4pPr>
              <a:lnSpc>
                <a:spcPct val="100000"/>
              </a:lnSpc>
              <a:defRPr sz="1401" b="0">
                <a:solidFill>
                  <a:srgbClr val="FFFFFF"/>
                </a:solidFill>
              </a:defRPr>
            </a:lvl4pPr>
            <a:lvl5pPr>
              <a:lnSpc>
                <a:spcPct val="100000"/>
              </a:lnSpc>
              <a:defRPr sz="1401"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1" y="2505077"/>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1" b="0">
                <a:solidFill>
                  <a:srgbClr val="FFFFFF"/>
                </a:solidFill>
              </a:defRPr>
            </a:lvl1pPr>
            <a:lvl2pPr>
              <a:lnSpc>
                <a:spcPct val="100000"/>
              </a:lnSpc>
              <a:defRPr sz="1401" b="0">
                <a:solidFill>
                  <a:srgbClr val="FFFFFF"/>
                </a:solidFill>
              </a:defRPr>
            </a:lvl2pPr>
            <a:lvl3pPr>
              <a:lnSpc>
                <a:spcPct val="100000"/>
              </a:lnSpc>
              <a:defRPr sz="1401" b="0">
                <a:solidFill>
                  <a:srgbClr val="FFFFFF"/>
                </a:solidFill>
              </a:defRPr>
            </a:lvl3pPr>
            <a:lvl4pPr>
              <a:lnSpc>
                <a:spcPct val="100000"/>
              </a:lnSpc>
              <a:defRPr sz="1401" b="0">
                <a:solidFill>
                  <a:srgbClr val="FFFFFF"/>
                </a:solidFill>
              </a:defRPr>
            </a:lvl4pPr>
            <a:lvl5pPr>
              <a:lnSpc>
                <a:spcPct val="100000"/>
              </a:lnSpc>
              <a:defRPr sz="1401"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7" y="2505077"/>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1" b="0">
                <a:solidFill>
                  <a:srgbClr val="FFFFFF"/>
                </a:solidFill>
              </a:defRPr>
            </a:lvl1pPr>
            <a:lvl2pPr>
              <a:lnSpc>
                <a:spcPct val="100000"/>
              </a:lnSpc>
              <a:defRPr sz="1401" b="0">
                <a:solidFill>
                  <a:srgbClr val="FFFFFF"/>
                </a:solidFill>
              </a:defRPr>
            </a:lvl2pPr>
            <a:lvl3pPr>
              <a:lnSpc>
                <a:spcPct val="100000"/>
              </a:lnSpc>
              <a:defRPr sz="1401" b="0">
                <a:solidFill>
                  <a:srgbClr val="FFFFFF"/>
                </a:solidFill>
              </a:defRPr>
            </a:lvl3pPr>
            <a:lvl4pPr>
              <a:lnSpc>
                <a:spcPct val="100000"/>
              </a:lnSpc>
              <a:defRPr sz="1401" b="0">
                <a:solidFill>
                  <a:srgbClr val="FFFFFF"/>
                </a:solidFill>
              </a:defRPr>
            </a:lvl4pPr>
            <a:lvl5pPr>
              <a:lnSpc>
                <a:spcPct val="100000"/>
              </a:lnSpc>
              <a:defRPr sz="1401"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9172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39833"/>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1" y="807757"/>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5"/>
            <a:ext cx="8209109"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5" y="3011509"/>
            <a:ext cx="4152135" cy="1029659"/>
          </a:xfrm>
          <a:prstGeom prst="rect">
            <a:avLst/>
          </a:prstGeom>
        </p:spPr>
        <p:txBody>
          <a:bodyPr/>
          <a:lstStyle>
            <a:lvl1pPr>
              <a:lnSpc>
                <a:spcPts val="1899"/>
              </a:lnSpc>
              <a:defRPr sz="1799" baseline="0">
                <a:solidFill>
                  <a:schemeClr val="tx2"/>
                </a:solidFill>
              </a:defRPr>
            </a:lvl1pPr>
            <a:lvl2pPr>
              <a:lnSpc>
                <a:spcPts val="1899"/>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6" y="5207564"/>
            <a:ext cx="4121798" cy="1003948"/>
          </a:xfrm>
          <a:prstGeom prst="rect">
            <a:avLst/>
          </a:prstGeom>
        </p:spPr>
        <p:txBody>
          <a:bodyPr/>
          <a:lstStyle>
            <a:lvl1pPr>
              <a:lnSpc>
                <a:spcPts val="1899"/>
              </a:lnSpc>
              <a:defRPr sz="1799" baseline="0">
                <a:solidFill>
                  <a:schemeClr val="tx2"/>
                </a:solidFill>
              </a:defRPr>
            </a:lvl1pPr>
            <a:lvl2pPr>
              <a:lnSpc>
                <a:spcPts val="1899"/>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2" y="3006085"/>
            <a:ext cx="4161382" cy="1029659"/>
          </a:xfrm>
          <a:prstGeom prst="rect">
            <a:avLst/>
          </a:prstGeom>
        </p:spPr>
        <p:txBody>
          <a:bodyPr/>
          <a:lstStyle>
            <a:lvl1pPr>
              <a:lnSpc>
                <a:spcPts val="1899"/>
              </a:lnSpc>
              <a:defRPr sz="1799" baseline="0">
                <a:solidFill>
                  <a:schemeClr val="tx2"/>
                </a:solidFill>
              </a:defRPr>
            </a:lvl1pPr>
            <a:lvl2pPr>
              <a:lnSpc>
                <a:spcPts val="1899"/>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1" y="5209765"/>
            <a:ext cx="4164912" cy="1003948"/>
          </a:xfrm>
          <a:prstGeom prst="rect">
            <a:avLst/>
          </a:prstGeom>
        </p:spPr>
        <p:txBody>
          <a:bodyPr/>
          <a:lstStyle>
            <a:lvl1pPr>
              <a:lnSpc>
                <a:spcPts val="1899"/>
              </a:lnSpc>
              <a:defRPr sz="1799" baseline="0">
                <a:solidFill>
                  <a:schemeClr val="tx2"/>
                </a:solidFill>
              </a:defRPr>
            </a:lvl1pPr>
            <a:lvl2pPr>
              <a:lnSpc>
                <a:spcPts val="1899"/>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92745"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1" y="3555678"/>
            <a:ext cx="3081874" cy="1046487"/>
          </a:xfrm>
          <a:prstGeom prst="rect">
            <a:avLst/>
          </a:prstGeom>
        </p:spPr>
        <p:txBody>
          <a:bodyPr/>
          <a:lstStyle>
            <a:lvl1pPr>
              <a:lnSpc>
                <a:spcPts val="1996"/>
              </a:lnSpc>
              <a:defRPr sz="1799" baseline="0">
                <a:solidFill>
                  <a:schemeClr val="tx2"/>
                </a:solidFill>
              </a:defRPr>
            </a:lvl1pPr>
            <a:lvl2pPr>
              <a:lnSpc>
                <a:spcPts val="1996"/>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7"/>
            <a:ext cx="3088538" cy="1046487"/>
          </a:xfrm>
          <a:prstGeom prst="rect">
            <a:avLst/>
          </a:prstGeom>
        </p:spPr>
        <p:txBody>
          <a:bodyPr/>
          <a:lstStyle>
            <a:lvl1pPr>
              <a:lnSpc>
                <a:spcPts val="1996"/>
              </a:lnSpc>
              <a:defRPr sz="1799" baseline="0">
                <a:solidFill>
                  <a:schemeClr val="tx2"/>
                </a:solidFill>
              </a:defRPr>
            </a:lvl1pPr>
            <a:lvl2pPr>
              <a:lnSpc>
                <a:spcPts val="1996"/>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5" y="3548347"/>
            <a:ext cx="3097102" cy="1046487"/>
          </a:xfrm>
          <a:prstGeom prst="rect">
            <a:avLst/>
          </a:prstGeom>
        </p:spPr>
        <p:txBody>
          <a:bodyPr/>
          <a:lstStyle>
            <a:lvl1pPr>
              <a:lnSpc>
                <a:spcPts val="1996"/>
              </a:lnSpc>
              <a:defRPr sz="1799" baseline="0">
                <a:solidFill>
                  <a:schemeClr val="tx2"/>
                </a:solidFill>
              </a:defRPr>
            </a:lvl1pPr>
            <a:lvl2pPr>
              <a:lnSpc>
                <a:spcPts val="1996"/>
              </a:lnSpc>
              <a:defRPr sz="1799" b="0">
                <a:solidFill>
                  <a:schemeClr val="bg1"/>
                </a:solidFill>
              </a:defRPr>
            </a:lvl2pPr>
            <a:lvl3pPr>
              <a:lnSpc>
                <a:spcPts val="1500"/>
              </a:lnSpc>
              <a:defRPr/>
            </a:lvl3pPr>
            <a:lvl4pPr>
              <a:lnSpc>
                <a:spcPts val="1599"/>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7"/>
            <a:ext cx="3088949" cy="1046487"/>
          </a:xfrm>
          <a:prstGeom prst="rect">
            <a:avLst/>
          </a:prstGeom>
        </p:spPr>
        <p:txBody>
          <a:bodyPr/>
          <a:lstStyle>
            <a:lvl1pPr>
              <a:lnSpc>
                <a:spcPts val="1996"/>
              </a:lnSpc>
              <a:defRPr sz="1799" baseline="0">
                <a:solidFill>
                  <a:schemeClr val="tx2"/>
                </a:solidFill>
              </a:defRPr>
            </a:lvl1pPr>
            <a:lvl2pPr>
              <a:lnSpc>
                <a:spcPts val="1996"/>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7"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2"/>
            <a:ext cx="8209109"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93769"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7" y="3005158"/>
            <a:ext cx="4158063" cy="1003948"/>
          </a:xfrm>
          <a:prstGeom prst="rect">
            <a:avLst/>
          </a:prstGeom>
        </p:spPr>
        <p:txBody>
          <a:bodyPr/>
          <a:lstStyle>
            <a:lvl1pPr>
              <a:lnSpc>
                <a:spcPts val="2001"/>
              </a:lnSpc>
              <a:defRPr sz="1799" baseline="0">
                <a:solidFill>
                  <a:schemeClr val="accent3"/>
                </a:solidFill>
              </a:defRPr>
            </a:lvl1pPr>
            <a:lvl2pPr>
              <a:lnSpc>
                <a:spcPts val="2001"/>
              </a:lnSpc>
              <a:defRPr sz="1799" b="0">
                <a:solidFill>
                  <a:schemeClr val="bg1"/>
                </a:solidFill>
              </a:defRPr>
            </a:lvl2pPr>
            <a:lvl3pPr>
              <a:lnSpc>
                <a:spcPts val="1500"/>
              </a:lnSpc>
              <a:defRPr>
                <a:solidFill>
                  <a:schemeClr val="accent3"/>
                </a:solidFill>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3" y="5220262"/>
            <a:ext cx="4155337" cy="1003948"/>
          </a:xfrm>
          <a:prstGeom prst="rect">
            <a:avLst/>
          </a:prstGeom>
        </p:spPr>
        <p:txBody>
          <a:bodyPr/>
          <a:lstStyle>
            <a:lvl1pPr>
              <a:lnSpc>
                <a:spcPts val="2001"/>
              </a:lnSpc>
              <a:defRPr sz="1799" baseline="0">
                <a:solidFill>
                  <a:schemeClr val="accent3"/>
                </a:solidFill>
              </a:defRPr>
            </a:lvl1pPr>
            <a:lvl2pPr>
              <a:lnSpc>
                <a:spcPts val="2001"/>
              </a:lnSpc>
              <a:defRPr sz="1799" b="0">
                <a:solidFill>
                  <a:schemeClr val="bg1"/>
                </a:solidFill>
              </a:defRPr>
            </a:lvl2pPr>
            <a:lvl3pPr>
              <a:lnSpc>
                <a:spcPts val="1500"/>
              </a:lnSpc>
              <a:defRPr>
                <a:solidFill>
                  <a:schemeClr val="accent3"/>
                </a:solidFill>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6" y="3001005"/>
            <a:ext cx="4158063" cy="1003948"/>
          </a:xfrm>
          <a:prstGeom prst="rect">
            <a:avLst/>
          </a:prstGeom>
        </p:spPr>
        <p:txBody>
          <a:bodyPr/>
          <a:lstStyle>
            <a:lvl1pPr>
              <a:lnSpc>
                <a:spcPts val="2001"/>
              </a:lnSpc>
              <a:defRPr sz="1799" baseline="0">
                <a:solidFill>
                  <a:schemeClr val="accent3"/>
                </a:solidFill>
              </a:defRPr>
            </a:lvl1pPr>
            <a:lvl2pPr>
              <a:lnSpc>
                <a:spcPts val="2001"/>
              </a:lnSpc>
              <a:defRPr sz="1799" b="0">
                <a:solidFill>
                  <a:schemeClr val="bg1"/>
                </a:solidFill>
              </a:defRPr>
            </a:lvl2pPr>
            <a:lvl3pPr>
              <a:lnSpc>
                <a:spcPts val="1500"/>
              </a:lnSpc>
              <a:defRPr>
                <a:solidFill>
                  <a:schemeClr val="accent3"/>
                </a:solidFill>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5" y="5222466"/>
            <a:ext cx="4163219" cy="1003948"/>
          </a:xfrm>
          <a:prstGeom prst="rect">
            <a:avLst/>
          </a:prstGeom>
        </p:spPr>
        <p:txBody>
          <a:bodyPr/>
          <a:lstStyle>
            <a:lvl1pPr>
              <a:lnSpc>
                <a:spcPts val="2001"/>
              </a:lnSpc>
              <a:defRPr sz="1799" baseline="0">
                <a:solidFill>
                  <a:schemeClr val="accent3"/>
                </a:solidFill>
              </a:defRPr>
            </a:lvl1pPr>
            <a:lvl2pPr>
              <a:lnSpc>
                <a:spcPts val="2001"/>
              </a:lnSpc>
              <a:defRPr sz="1799" b="0">
                <a:solidFill>
                  <a:schemeClr val="bg1"/>
                </a:solidFill>
              </a:defRPr>
            </a:lvl2pPr>
            <a:lvl3pPr>
              <a:lnSpc>
                <a:spcPts val="1500"/>
              </a:lnSpc>
              <a:defRPr>
                <a:solidFill>
                  <a:schemeClr val="accent3"/>
                </a:solidFill>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7"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1" y="1936751"/>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72" rtl="0" eaLnBrk="1" latinLnBrk="0" hangingPunct="1">
              <a:lnSpc>
                <a:spcPts val="1599"/>
              </a:lnSpc>
              <a:spcBef>
                <a:spcPts val="0"/>
              </a:spcBef>
              <a:buClr>
                <a:srgbClr val="FFFFFF"/>
              </a:buClr>
              <a:buSzPct val="100000"/>
              <a:buFont typeface="Arial"/>
              <a:buNone/>
              <a:defRPr/>
            </a:lvl2pPr>
          </a:lstStyle>
          <a:p>
            <a:pPr marL="0" lvl="1" indent="0" algn="ctr" defTabSz="961772" rtl="0" eaLnBrk="1" latinLnBrk="0" hangingPunct="1">
              <a:lnSpc>
                <a:spcPts val="1599"/>
              </a:lnSpc>
              <a:spcBef>
                <a:spcPts val="0"/>
              </a:spcBef>
              <a:buClr>
                <a:srgbClr val="FFFFFF"/>
              </a:buClr>
              <a:buSzPct val="100000"/>
              <a:buFont typeface="Arial"/>
              <a:buNone/>
            </a:pPr>
            <a:r>
              <a:rPr lang="fr-FR" sz="1401" dirty="0">
                <a:solidFill>
                  <a:srgbClr val="FFFFFF"/>
                </a:solidFill>
              </a:rPr>
              <a:t>Ut </a:t>
            </a:r>
            <a:r>
              <a:rPr lang="fr-FR" sz="1401" dirty="0" err="1">
                <a:solidFill>
                  <a:srgbClr val="FFFFFF"/>
                </a:solidFill>
              </a:rPr>
              <a:t>adipiscing</a:t>
            </a:r>
            <a:r>
              <a:rPr lang="fr-FR" sz="1401" dirty="0">
                <a:solidFill>
                  <a:srgbClr val="FFFFFF"/>
                </a:solidFill>
              </a:rPr>
              <a:t> </a:t>
            </a:r>
            <a:r>
              <a:rPr lang="fr-FR" sz="1401" dirty="0" err="1">
                <a:solidFill>
                  <a:srgbClr val="FFFFFF"/>
                </a:solidFill>
              </a:rPr>
              <a:t>lectus</a:t>
            </a:r>
            <a:r>
              <a:rPr lang="fr-FR" sz="1401" dirty="0">
                <a:solidFill>
                  <a:srgbClr val="FFFFFF"/>
                </a:solidFill>
              </a:rPr>
              <a:t> in </a:t>
            </a:r>
            <a:r>
              <a:rPr lang="fr-FR" sz="1401" dirty="0" err="1">
                <a:solidFill>
                  <a:srgbClr val="FFFFFF"/>
                </a:solidFill>
              </a:rPr>
              <a:t>turpis</a:t>
            </a:r>
            <a:r>
              <a:rPr lang="fr-FR" sz="1401" dirty="0">
                <a:solidFill>
                  <a:srgbClr val="FFFFFF"/>
                </a:solidFill>
              </a:rPr>
              <a:t> </a:t>
            </a:r>
            <a:r>
              <a:rPr lang="fr-FR" sz="1401" dirty="0" err="1">
                <a:solidFill>
                  <a:srgbClr val="FFFFFF"/>
                </a:solidFill>
              </a:rPr>
              <a:t>suscipit</a:t>
            </a:r>
            <a:r>
              <a:rPr lang="fr-FR" sz="1401" dirty="0">
                <a:solidFill>
                  <a:srgbClr val="FFFFFF"/>
                </a:solidFill>
              </a:rPr>
              <a:t> </a:t>
            </a:r>
            <a:r>
              <a:rPr lang="fr-FR" sz="1401" dirty="0" err="1">
                <a:solidFill>
                  <a:srgbClr val="FFFFFF"/>
                </a:solidFill>
              </a:rPr>
              <a:t>egestas</a:t>
            </a:r>
            <a:r>
              <a:rPr lang="fr-FR" sz="1401" dirty="0">
                <a:solidFill>
                  <a:srgbClr val="FFFFFF"/>
                </a:solidFill>
              </a:rPr>
              <a:t>.</a:t>
            </a:r>
          </a:p>
        </p:txBody>
      </p:sp>
      <p:sp>
        <p:nvSpPr>
          <p:cNvPr id="26" name="Text Placeholder 5"/>
          <p:cNvSpPr>
            <a:spLocks noGrp="1"/>
          </p:cNvSpPr>
          <p:nvPr>
            <p:ph type="body" sz="quarter" idx="24" hasCustomPrompt="1"/>
          </p:nvPr>
        </p:nvSpPr>
        <p:spPr>
          <a:xfrm>
            <a:off x="6787707" y="1936751"/>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72" rtl="0" eaLnBrk="1" latinLnBrk="0" hangingPunct="1">
              <a:lnSpc>
                <a:spcPts val="1599"/>
              </a:lnSpc>
              <a:spcBef>
                <a:spcPts val="0"/>
              </a:spcBef>
              <a:buClr>
                <a:srgbClr val="FFFFFF"/>
              </a:buClr>
              <a:buSzPct val="100000"/>
              <a:buFont typeface="Arial"/>
              <a:buNone/>
              <a:defRPr/>
            </a:lvl2pPr>
          </a:lstStyle>
          <a:p>
            <a:pPr marL="0" lvl="1" indent="0" algn="ctr" defTabSz="961772" rtl="0" eaLnBrk="1" latinLnBrk="0" hangingPunct="1">
              <a:lnSpc>
                <a:spcPts val="1599"/>
              </a:lnSpc>
              <a:spcBef>
                <a:spcPts val="0"/>
              </a:spcBef>
              <a:buClr>
                <a:srgbClr val="FFFFFF"/>
              </a:buClr>
              <a:buSzPct val="100000"/>
              <a:buFont typeface="Arial"/>
              <a:buNone/>
            </a:pPr>
            <a:r>
              <a:rPr lang="fr-FR" sz="1401" dirty="0">
                <a:solidFill>
                  <a:srgbClr val="FFFFFF"/>
                </a:solidFill>
              </a:rPr>
              <a:t>Ut </a:t>
            </a:r>
            <a:r>
              <a:rPr lang="fr-FR" sz="1401" dirty="0" err="1">
                <a:solidFill>
                  <a:srgbClr val="FFFFFF"/>
                </a:solidFill>
              </a:rPr>
              <a:t>adipiscing</a:t>
            </a:r>
            <a:r>
              <a:rPr lang="fr-FR" sz="1401" dirty="0">
                <a:solidFill>
                  <a:srgbClr val="FFFFFF"/>
                </a:solidFill>
              </a:rPr>
              <a:t> </a:t>
            </a:r>
            <a:r>
              <a:rPr lang="fr-FR" sz="1401" dirty="0" err="1">
                <a:solidFill>
                  <a:srgbClr val="FFFFFF"/>
                </a:solidFill>
              </a:rPr>
              <a:t>lectus</a:t>
            </a:r>
            <a:r>
              <a:rPr lang="fr-FR" sz="1401" dirty="0">
                <a:solidFill>
                  <a:srgbClr val="FFFFFF"/>
                </a:solidFill>
              </a:rPr>
              <a:t> in </a:t>
            </a:r>
            <a:r>
              <a:rPr lang="fr-FR" sz="1401" dirty="0" err="1">
                <a:solidFill>
                  <a:srgbClr val="FFFFFF"/>
                </a:solidFill>
              </a:rPr>
              <a:t>turpis</a:t>
            </a:r>
            <a:r>
              <a:rPr lang="fr-FR" sz="1401" dirty="0">
                <a:solidFill>
                  <a:srgbClr val="FFFFFF"/>
                </a:solidFill>
              </a:rPr>
              <a:t> </a:t>
            </a:r>
            <a:r>
              <a:rPr lang="fr-FR" sz="1401" dirty="0" err="1">
                <a:solidFill>
                  <a:srgbClr val="FFFFFF"/>
                </a:solidFill>
              </a:rPr>
              <a:t>suscipit</a:t>
            </a:r>
            <a:r>
              <a:rPr lang="fr-FR" sz="1401" dirty="0">
                <a:solidFill>
                  <a:srgbClr val="FFFFFF"/>
                </a:solidFill>
              </a:rPr>
              <a:t> </a:t>
            </a:r>
            <a:r>
              <a:rPr lang="fr-FR" sz="1401" dirty="0" err="1">
                <a:solidFill>
                  <a:srgbClr val="FFFFFF"/>
                </a:solidFill>
              </a:rPr>
              <a:t>egestas</a:t>
            </a:r>
            <a:r>
              <a:rPr lang="fr-FR" sz="1401" dirty="0">
                <a:solidFill>
                  <a:srgbClr val="FFFFFF"/>
                </a:solidFill>
              </a:rPr>
              <a:t>.</a:t>
            </a:r>
          </a:p>
        </p:txBody>
      </p:sp>
      <p:sp>
        <p:nvSpPr>
          <p:cNvPr id="28" name="Text Placeholder 5"/>
          <p:cNvSpPr>
            <a:spLocks noGrp="1"/>
          </p:cNvSpPr>
          <p:nvPr>
            <p:ph type="body" sz="quarter" idx="25" hasCustomPrompt="1"/>
          </p:nvPr>
        </p:nvSpPr>
        <p:spPr>
          <a:xfrm>
            <a:off x="2515601" y="414814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72" rtl="0" eaLnBrk="1" latinLnBrk="0" hangingPunct="1">
              <a:lnSpc>
                <a:spcPts val="1599"/>
              </a:lnSpc>
              <a:spcBef>
                <a:spcPts val="0"/>
              </a:spcBef>
              <a:buClr>
                <a:srgbClr val="FFFFFF"/>
              </a:buClr>
              <a:buSzPct val="100000"/>
              <a:buFont typeface="Arial"/>
              <a:buNone/>
              <a:defRPr/>
            </a:lvl2pPr>
          </a:lstStyle>
          <a:p>
            <a:pPr marL="0" lvl="1" indent="0" algn="ctr" defTabSz="961772" rtl="0" eaLnBrk="1" latinLnBrk="0" hangingPunct="1">
              <a:lnSpc>
                <a:spcPts val="1599"/>
              </a:lnSpc>
              <a:spcBef>
                <a:spcPts val="0"/>
              </a:spcBef>
              <a:buClr>
                <a:srgbClr val="FFFFFF"/>
              </a:buClr>
              <a:buSzPct val="100000"/>
              <a:buFont typeface="Arial"/>
              <a:buNone/>
            </a:pPr>
            <a:r>
              <a:rPr lang="fr-FR" sz="1401" dirty="0">
                <a:solidFill>
                  <a:srgbClr val="FFFFFF"/>
                </a:solidFill>
              </a:rPr>
              <a:t>Ut </a:t>
            </a:r>
            <a:r>
              <a:rPr lang="fr-FR" sz="1401" dirty="0" err="1">
                <a:solidFill>
                  <a:srgbClr val="FFFFFF"/>
                </a:solidFill>
              </a:rPr>
              <a:t>adipiscing</a:t>
            </a:r>
            <a:r>
              <a:rPr lang="fr-FR" sz="1401" dirty="0">
                <a:solidFill>
                  <a:srgbClr val="FFFFFF"/>
                </a:solidFill>
              </a:rPr>
              <a:t> </a:t>
            </a:r>
            <a:r>
              <a:rPr lang="fr-FR" sz="1401" dirty="0" err="1">
                <a:solidFill>
                  <a:srgbClr val="FFFFFF"/>
                </a:solidFill>
              </a:rPr>
              <a:t>lectus</a:t>
            </a:r>
            <a:r>
              <a:rPr lang="fr-FR" sz="1401" dirty="0">
                <a:solidFill>
                  <a:srgbClr val="FFFFFF"/>
                </a:solidFill>
              </a:rPr>
              <a:t> in </a:t>
            </a:r>
            <a:r>
              <a:rPr lang="fr-FR" sz="1401" dirty="0" err="1">
                <a:solidFill>
                  <a:srgbClr val="FFFFFF"/>
                </a:solidFill>
              </a:rPr>
              <a:t>turpis</a:t>
            </a:r>
            <a:r>
              <a:rPr lang="fr-FR" sz="1401" dirty="0">
                <a:solidFill>
                  <a:srgbClr val="FFFFFF"/>
                </a:solidFill>
              </a:rPr>
              <a:t> </a:t>
            </a:r>
            <a:r>
              <a:rPr lang="fr-FR" sz="1401" dirty="0" err="1">
                <a:solidFill>
                  <a:srgbClr val="FFFFFF"/>
                </a:solidFill>
              </a:rPr>
              <a:t>suscipit</a:t>
            </a:r>
            <a:r>
              <a:rPr lang="fr-FR" sz="1401" dirty="0">
                <a:solidFill>
                  <a:srgbClr val="FFFFFF"/>
                </a:solidFill>
              </a:rPr>
              <a:t> </a:t>
            </a:r>
            <a:r>
              <a:rPr lang="fr-FR" sz="1401" dirty="0" err="1">
                <a:solidFill>
                  <a:srgbClr val="FFFFFF"/>
                </a:solidFill>
              </a:rPr>
              <a:t>egestas</a:t>
            </a:r>
            <a:r>
              <a:rPr lang="fr-FR" sz="1401" dirty="0">
                <a:solidFill>
                  <a:srgbClr val="FFFFFF"/>
                </a:solidFill>
              </a:rPr>
              <a:t>.</a:t>
            </a:r>
          </a:p>
        </p:txBody>
      </p:sp>
      <p:sp>
        <p:nvSpPr>
          <p:cNvPr id="29" name="Text Placeholder 5"/>
          <p:cNvSpPr>
            <a:spLocks noGrp="1"/>
          </p:cNvSpPr>
          <p:nvPr>
            <p:ph type="body" sz="quarter" idx="26" hasCustomPrompt="1"/>
          </p:nvPr>
        </p:nvSpPr>
        <p:spPr>
          <a:xfrm>
            <a:off x="6787707" y="414814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72" rtl="0" eaLnBrk="1" latinLnBrk="0" hangingPunct="1">
              <a:lnSpc>
                <a:spcPts val="1599"/>
              </a:lnSpc>
              <a:spcBef>
                <a:spcPts val="0"/>
              </a:spcBef>
              <a:buClr>
                <a:srgbClr val="FFFFFF"/>
              </a:buClr>
              <a:buSzPct val="100000"/>
              <a:buFont typeface="Arial"/>
              <a:buNone/>
              <a:defRPr/>
            </a:lvl2pPr>
          </a:lstStyle>
          <a:p>
            <a:pPr marL="0" lvl="1" indent="0" algn="ctr" defTabSz="961772" rtl="0" eaLnBrk="1" latinLnBrk="0" hangingPunct="1">
              <a:lnSpc>
                <a:spcPts val="1599"/>
              </a:lnSpc>
              <a:spcBef>
                <a:spcPts val="0"/>
              </a:spcBef>
              <a:buClr>
                <a:srgbClr val="FFFFFF"/>
              </a:buClr>
              <a:buSzPct val="100000"/>
              <a:buFont typeface="Arial"/>
              <a:buNone/>
            </a:pPr>
            <a:r>
              <a:rPr lang="fr-FR" sz="1401" dirty="0">
                <a:solidFill>
                  <a:srgbClr val="FFFFFF"/>
                </a:solidFill>
              </a:rPr>
              <a:t>Ut </a:t>
            </a:r>
            <a:r>
              <a:rPr lang="fr-FR" sz="1401" dirty="0" err="1">
                <a:solidFill>
                  <a:srgbClr val="FFFFFF"/>
                </a:solidFill>
              </a:rPr>
              <a:t>adipiscing</a:t>
            </a:r>
            <a:r>
              <a:rPr lang="fr-FR" sz="1401" dirty="0">
                <a:solidFill>
                  <a:srgbClr val="FFFFFF"/>
                </a:solidFill>
              </a:rPr>
              <a:t> </a:t>
            </a:r>
            <a:r>
              <a:rPr lang="fr-FR" sz="1401" dirty="0" err="1">
                <a:solidFill>
                  <a:srgbClr val="FFFFFF"/>
                </a:solidFill>
              </a:rPr>
              <a:t>lectus</a:t>
            </a:r>
            <a:r>
              <a:rPr lang="fr-FR" sz="1401" dirty="0">
                <a:solidFill>
                  <a:srgbClr val="FFFFFF"/>
                </a:solidFill>
              </a:rPr>
              <a:t> in </a:t>
            </a:r>
            <a:r>
              <a:rPr lang="fr-FR" sz="1401" dirty="0" err="1">
                <a:solidFill>
                  <a:srgbClr val="FFFFFF"/>
                </a:solidFill>
              </a:rPr>
              <a:t>turpis</a:t>
            </a:r>
            <a:r>
              <a:rPr lang="fr-FR" sz="1401" dirty="0">
                <a:solidFill>
                  <a:srgbClr val="FFFFFF"/>
                </a:solidFill>
              </a:rPr>
              <a:t> </a:t>
            </a:r>
            <a:r>
              <a:rPr lang="fr-FR" sz="1401" dirty="0" err="1">
                <a:solidFill>
                  <a:srgbClr val="FFFFFF"/>
                </a:solidFill>
              </a:rPr>
              <a:t>suscipit</a:t>
            </a:r>
            <a:r>
              <a:rPr lang="fr-FR" sz="1401" dirty="0">
                <a:solidFill>
                  <a:srgbClr val="FFFFFF"/>
                </a:solidFill>
              </a:rPr>
              <a:t> </a:t>
            </a:r>
            <a:r>
              <a:rPr lang="fr-FR" sz="1401" dirty="0" err="1">
                <a:solidFill>
                  <a:srgbClr val="FFFFFF"/>
                </a:solidFill>
              </a:rPr>
              <a:t>egestas</a:t>
            </a:r>
            <a:r>
              <a:rPr lang="fr-FR" sz="1401" dirty="0">
                <a:solidFill>
                  <a:srgbClr val="FFFFFF"/>
                </a:solidFill>
              </a:rPr>
              <a:t>.</a:t>
            </a:r>
          </a:p>
        </p:txBody>
      </p:sp>
      <p:sp>
        <p:nvSpPr>
          <p:cNvPr id="18"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94793"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1" y="3560392"/>
            <a:ext cx="3076792" cy="1003948"/>
          </a:xfrm>
          <a:prstGeom prst="rect">
            <a:avLst/>
          </a:prstGeom>
        </p:spPr>
        <p:txBody>
          <a:bodyPr/>
          <a:lstStyle>
            <a:lvl1pPr algn="ctr">
              <a:lnSpc>
                <a:spcPts val="2001"/>
              </a:lnSpc>
              <a:defRPr sz="1799" baseline="0">
                <a:solidFill>
                  <a:schemeClr val="tx2"/>
                </a:solidFill>
              </a:defRPr>
            </a:lvl1pPr>
            <a:lvl2pPr algn="ctr">
              <a:lnSpc>
                <a:spcPts val="2001"/>
              </a:lnSpc>
              <a:defRPr sz="1799" b="0">
                <a:solidFill>
                  <a:schemeClr val="bg1"/>
                </a:solidFill>
              </a:defRPr>
            </a:lvl2pPr>
            <a:lvl3pPr algn="ctr">
              <a:lnSpc>
                <a:spcPts val="1500"/>
              </a:lnSpc>
              <a:defRPr/>
            </a:lvl3pPr>
            <a:lvl4pPr algn="ctr">
              <a:lnSpc>
                <a:spcPts val="1599"/>
              </a:lnSpc>
              <a:defRPr lang="en-US" sz="1401"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2"/>
            <a:ext cx="3088538" cy="1003948"/>
          </a:xfrm>
          <a:prstGeom prst="rect">
            <a:avLst/>
          </a:prstGeom>
        </p:spPr>
        <p:txBody>
          <a:bodyPr/>
          <a:lstStyle>
            <a:lvl1pPr algn="ctr">
              <a:lnSpc>
                <a:spcPts val="2001"/>
              </a:lnSpc>
              <a:defRPr sz="1799" baseline="0">
                <a:solidFill>
                  <a:schemeClr val="tx2"/>
                </a:solidFill>
              </a:defRPr>
            </a:lvl1pPr>
            <a:lvl2pPr algn="ctr">
              <a:lnSpc>
                <a:spcPts val="2001"/>
              </a:lnSpc>
              <a:defRPr sz="1799" b="0">
                <a:solidFill>
                  <a:schemeClr val="bg1"/>
                </a:solidFill>
              </a:defRPr>
            </a:lvl2pPr>
            <a:lvl3pPr algn="ctr">
              <a:lnSpc>
                <a:spcPts val="1599"/>
              </a:lnSpc>
              <a:defRPr/>
            </a:lvl3pPr>
            <a:lvl4pPr algn="ctr">
              <a:lnSpc>
                <a:spcPts val="1599"/>
              </a:lnSpc>
              <a:defRPr lang="en-US" sz="1401"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5" y="3560392"/>
            <a:ext cx="3097102" cy="1003948"/>
          </a:xfrm>
          <a:prstGeom prst="rect">
            <a:avLst/>
          </a:prstGeom>
        </p:spPr>
        <p:txBody>
          <a:bodyPr/>
          <a:lstStyle>
            <a:lvl1pPr algn="ctr">
              <a:lnSpc>
                <a:spcPts val="2001"/>
              </a:lnSpc>
              <a:defRPr sz="1799" baseline="0">
                <a:solidFill>
                  <a:schemeClr val="tx2"/>
                </a:solidFill>
              </a:defRPr>
            </a:lvl1pPr>
            <a:lvl2pPr algn="ctr">
              <a:lnSpc>
                <a:spcPts val="2001"/>
              </a:lnSpc>
              <a:defRPr sz="1799" b="0">
                <a:solidFill>
                  <a:schemeClr val="bg1"/>
                </a:solidFill>
              </a:defRPr>
            </a:lvl2pPr>
            <a:lvl3pPr algn="ctr">
              <a:lnSpc>
                <a:spcPts val="1599"/>
              </a:lnSpc>
              <a:defRPr/>
            </a:lvl3pPr>
            <a:lvl4pPr algn="ctr">
              <a:lnSpc>
                <a:spcPts val="1599"/>
              </a:lnSpc>
              <a:defRPr lang="en-US" sz="1401"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2"/>
            <a:ext cx="3083868" cy="1003948"/>
          </a:xfrm>
          <a:prstGeom prst="rect">
            <a:avLst/>
          </a:prstGeom>
        </p:spPr>
        <p:txBody>
          <a:bodyPr/>
          <a:lstStyle>
            <a:lvl1pPr algn="ctr">
              <a:lnSpc>
                <a:spcPts val="2001"/>
              </a:lnSpc>
              <a:defRPr sz="1799" baseline="0">
                <a:solidFill>
                  <a:schemeClr val="tx2"/>
                </a:solidFill>
              </a:defRPr>
            </a:lvl1pPr>
            <a:lvl2pPr algn="ctr">
              <a:lnSpc>
                <a:spcPts val="2001"/>
              </a:lnSpc>
              <a:defRPr sz="1799" b="0">
                <a:solidFill>
                  <a:schemeClr val="bg1"/>
                </a:solidFill>
              </a:defRPr>
            </a:lvl2pPr>
            <a:lvl3pPr algn="ctr">
              <a:lnSpc>
                <a:spcPts val="1500"/>
              </a:lnSpc>
              <a:defRPr/>
            </a:lvl3pPr>
            <a:lvl4pPr algn="ctr">
              <a:lnSpc>
                <a:spcPts val="1599"/>
              </a:lnSpc>
              <a:defRPr lang="en-US" sz="1401"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7"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1"/>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7"/>
            <a:ext cx="8209109"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1"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72" rtl="0" eaLnBrk="1" latinLnBrk="0" hangingPunct="1">
              <a:lnSpc>
                <a:spcPts val="1599"/>
              </a:lnSpc>
              <a:spcBef>
                <a:spcPts val="0"/>
              </a:spcBef>
              <a:buClr>
                <a:srgbClr val="FFFFFF"/>
              </a:buClr>
              <a:buSzPct val="100000"/>
              <a:buFont typeface="Arial"/>
              <a:buNone/>
              <a:defRPr/>
            </a:lvl2pPr>
          </a:lstStyle>
          <a:p>
            <a:pPr marL="0" lvl="1" indent="0" algn="ctr" defTabSz="961772" rtl="0" eaLnBrk="1" latinLnBrk="0" hangingPunct="1">
              <a:lnSpc>
                <a:spcPts val="1599"/>
              </a:lnSpc>
              <a:spcBef>
                <a:spcPts val="0"/>
              </a:spcBef>
              <a:buClr>
                <a:srgbClr val="FFFFFF"/>
              </a:buClr>
              <a:buSzPct val="100000"/>
              <a:buFont typeface="Arial"/>
              <a:buNone/>
            </a:pPr>
            <a:r>
              <a:rPr lang="fr-FR" sz="1401" dirty="0">
                <a:solidFill>
                  <a:srgbClr val="FFFFFF"/>
                </a:solidFill>
              </a:rPr>
              <a:t>Ut </a:t>
            </a:r>
            <a:r>
              <a:rPr lang="fr-FR" sz="1401" dirty="0" err="1">
                <a:solidFill>
                  <a:srgbClr val="FFFFFF"/>
                </a:solidFill>
              </a:rPr>
              <a:t>adipiscing</a:t>
            </a:r>
            <a:r>
              <a:rPr lang="fr-FR" sz="1401" dirty="0">
                <a:solidFill>
                  <a:srgbClr val="FFFFFF"/>
                </a:solidFill>
              </a:rPr>
              <a:t> </a:t>
            </a:r>
            <a:r>
              <a:rPr lang="fr-FR" sz="1401" dirty="0" err="1">
                <a:solidFill>
                  <a:srgbClr val="FFFFFF"/>
                </a:solidFill>
              </a:rPr>
              <a:t>lectus</a:t>
            </a:r>
            <a:r>
              <a:rPr lang="fr-FR" sz="1401" dirty="0">
                <a:solidFill>
                  <a:srgbClr val="FFFFFF"/>
                </a:solidFill>
              </a:rPr>
              <a:t> in </a:t>
            </a:r>
            <a:r>
              <a:rPr lang="fr-FR" sz="1401" dirty="0" err="1">
                <a:solidFill>
                  <a:srgbClr val="FFFFFF"/>
                </a:solidFill>
              </a:rPr>
              <a:t>turpis</a:t>
            </a:r>
            <a:r>
              <a:rPr lang="fr-FR" sz="1401" dirty="0">
                <a:solidFill>
                  <a:srgbClr val="FFFFFF"/>
                </a:solidFill>
              </a:rPr>
              <a:t> </a:t>
            </a:r>
            <a:r>
              <a:rPr lang="fr-FR" sz="1401" dirty="0" err="1">
                <a:solidFill>
                  <a:srgbClr val="FFFFFF"/>
                </a:solidFill>
              </a:rPr>
              <a:t>suscipit</a:t>
            </a:r>
            <a:r>
              <a:rPr lang="fr-FR" sz="1401" dirty="0">
                <a:solidFill>
                  <a:srgbClr val="FFFFFF"/>
                </a:solidFill>
              </a:rPr>
              <a:t> </a:t>
            </a:r>
            <a:r>
              <a:rPr lang="fr-FR" sz="1401" dirty="0" err="1">
                <a:solidFill>
                  <a:srgbClr val="FFFFFF"/>
                </a:solidFill>
              </a:rPr>
              <a:t>egestas</a:t>
            </a:r>
            <a:r>
              <a:rPr lang="fr-FR" sz="1401" dirty="0">
                <a:solidFill>
                  <a:srgbClr val="FFFFFF"/>
                </a:solidFill>
              </a:rPr>
              <a:t>.</a:t>
            </a:r>
          </a:p>
        </p:txBody>
      </p:sp>
      <p:sp>
        <p:nvSpPr>
          <p:cNvPr id="22" name="Text Placeholder 3"/>
          <p:cNvSpPr>
            <a:spLocks noGrp="1"/>
          </p:cNvSpPr>
          <p:nvPr>
            <p:ph type="body" sz="quarter" idx="24" hasCustomPrompt="1"/>
          </p:nvPr>
        </p:nvSpPr>
        <p:spPr>
          <a:xfrm>
            <a:off x="3609487"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72" rtl="0" eaLnBrk="1" latinLnBrk="0" hangingPunct="1">
              <a:lnSpc>
                <a:spcPts val="1599"/>
              </a:lnSpc>
              <a:spcBef>
                <a:spcPts val="0"/>
              </a:spcBef>
              <a:buClr>
                <a:srgbClr val="FFFFFF"/>
              </a:buClr>
              <a:buSzPct val="100000"/>
              <a:buFont typeface="Arial"/>
              <a:buNone/>
              <a:defRPr/>
            </a:lvl2pPr>
          </a:lstStyle>
          <a:p>
            <a:pPr marL="0" lvl="1" indent="0" algn="ctr" defTabSz="961772" rtl="0" eaLnBrk="1" latinLnBrk="0" hangingPunct="1">
              <a:lnSpc>
                <a:spcPts val="1599"/>
              </a:lnSpc>
              <a:spcBef>
                <a:spcPts val="0"/>
              </a:spcBef>
              <a:buClr>
                <a:srgbClr val="FFFFFF"/>
              </a:buClr>
              <a:buSzPct val="100000"/>
              <a:buFont typeface="Arial"/>
              <a:buNone/>
            </a:pPr>
            <a:r>
              <a:rPr lang="fr-FR" sz="1401" dirty="0">
                <a:solidFill>
                  <a:srgbClr val="FFFFFF"/>
                </a:solidFill>
              </a:rPr>
              <a:t>Ut </a:t>
            </a:r>
            <a:r>
              <a:rPr lang="fr-FR" sz="1401" dirty="0" err="1">
                <a:solidFill>
                  <a:srgbClr val="FFFFFF"/>
                </a:solidFill>
              </a:rPr>
              <a:t>adipiscing</a:t>
            </a:r>
            <a:r>
              <a:rPr lang="fr-FR" sz="1401" dirty="0">
                <a:solidFill>
                  <a:srgbClr val="FFFFFF"/>
                </a:solidFill>
              </a:rPr>
              <a:t> </a:t>
            </a:r>
            <a:r>
              <a:rPr lang="fr-FR" sz="1401" dirty="0" err="1">
                <a:solidFill>
                  <a:srgbClr val="FFFFFF"/>
                </a:solidFill>
              </a:rPr>
              <a:t>lectus</a:t>
            </a:r>
            <a:r>
              <a:rPr lang="fr-FR" sz="1401" dirty="0">
                <a:solidFill>
                  <a:srgbClr val="FFFFFF"/>
                </a:solidFill>
              </a:rPr>
              <a:t> in </a:t>
            </a:r>
            <a:r>
              <a:rPr lang="fr-FR" sz="1401" dirty="0" err="1">
                <a:solidFill>
                  <a:srgbClr val="FFFFFF"/>
                </a:solidFill>
              </a:rPr>
              <a:t>turpis</a:t>
            </a:r>
            <a:r>
              <a:rPr lang="fr-FR" sz="1401" dirty="0">
                <a:solidFill>
                  <a:srgbClr val="FFFFFF"/>
                </a:solidFill>
              </a:rPr>
              <a:t> </a:t>
            </a:r>
            <a:r>
              <a:rPr lang="fr-FR" sz="1401" dirty="0" err="1">
                <a:solidFill>
                  <a:srgbClr val="FFFFFF"/>
                </a:solidFill>
              </a:rPr>
              <a:t>suscipit</a:t>
            </a:r>
            <a:r>
              <a:rPr lang="fr-FR" sz="1401" dirty="0">
                <a:solidFill>
                  <a:srgbClr val="FFFFFF"/>
                </a:solidFill>
              </a:rPr>
              <a:t> </a:t>
            </a:r>
            <a:r>
              <a:rPr lang="fr-FR" sz="1401" dirty="0" err="1">
                <a:solidFill>
                  <a:srgbClr val="FFFFFF"/>
                </a:solidFill>
              </a:rPr>
              <a:t>egestas</a:t>
            </a:r>
            <a:r>
              <a:rPr lang="fr-FR" sz="1401" dirty="0">
                <a:solidFill>
                  <a:srgbClr val="FFFFFF"/>
                </a:solidFill>
              </a:rPr>
              <a:t>.</a:t>
            </a:r>
          </a:p>
        </p:txBody>
      </p:sp>
      <p:sp>
        <p:nvSpPr>
          <p:cNvPr id="24" name="Text Placeholder 3"/>
          <p:cNvSpPr>
            <a:spLocks noGrp="1"/>
          </p:cNvSpPr>
          <p:nvPr>
            <p:ph type="body" sz="quarter" idx="25" hasCustomPrompt="1"/>
          </p:nvPr>
        </p:nvSpPr>
        <p:spPr>
          <a:xfrm>
            <a:off x="6837912"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72" rtl="0" eaLnBrk="1" latinLnBrk="0" hangingPunct="1">
              <a:lnSpc>
                <a:spcPts val="1599"/>
              </a:lnSpc>
              <a:spcBef>
                <a:spcPts val="0"/>
              </a:spcBef>
              <a:buClr>
                <a:srgbClr val="FFFFFF"/>
              </a:buClr>
              <a:buSzPct val="100000"/>
              <a:buFont typeface="Arial"/>
              <a:buNone/>
              <a:defRPr/>
            </a:lvl2pPr>
          </a:lstStyle>
          <a:p>
            <a:pPr marL="0" lvl="1" indent="0" algn="ctr" defTabSz="961772" rtl="0" eaLnBrk="1" latinLnBrk="0" hangingPunct="1">
              <a:lnSpc>
                <a:spcPts val="1599"/>
              </a:lnSpc>
              <a:spcBef>
                <a:spcPts val="0"/>
              </a:spcBef>
              <a:buClr>
                <a:srgbClr val="FFFFFF"/>
              </a:buClr>
              <a:buSzPct val="100000"/>
              <a:buFont typeface="Arial"/>
              <a:buNone/>
            </a:pPr>
            <a:r>
              <a:rPr lang="fr-FR" sz="1401" dirty="0">
                <a:solidFill>
                  <a:srgbClr val="FFFFFF"/>
                </a:solidFill>
              </a:rPr>
              <a:t>Ut </a:t>
            </a:r>
            <a:r>
              <a:rPr lang="fr-FR" sz="1401" dirty="0" err="1">
                <a:solidFill>
                  <a:srgbClr val="FFFFFF"/>
                </a:solidFill>
              </a:rPr>
              <a:t>adipiscing</a:t>
            </a:r>
            <a:r>
              <a:rPr lang="fr-FR" sz="1401" dirty="0">
                <a:solidFill>
                  <a:srgbClr val="FFFFFF"/>
                </a:solidFill>
              </a:rPr>
              <a:t> </a:t>
            </a:r>
            <a:r>
              <a:rPr lang="fr-FR" sz="1401" dirty="0" err="1">
                <a:solidFill>
                  <a:srgbClr val="FFFFFF"/>
                </a:solidFill>
              </a:rPr>
              <a:t>lectus</a:t>
            </a:r>
            <a:r>
              <a:rPr lang="fr-FR" sz="1401" dirty="0">
                <a:solidFill>
                  <a:srgbClr val="FFFFFF"/>
                </a:solidFill>
              </a:rPr>
              <a:t> in </a:t>
            </a:r>
            <a:r>
              <a:rPr lang="fr-FR" sz="1401" dirty="0" err="1">
                <a:solidFill>
                  <a:srgbClr val="FFFFFF"/>
                </a:solidFill>
              </a:rPr>
              <a:t>turpis</a:t>
            </a:r>
            <a:r>
              <a:rPr lang="fr-FR" sz="1401" dirty="0">
                <a:solidFill>
                  <a:srgbClr val="FFFFFF"/>
                </a:solidFill>
              </a:rPr>
              <a:t> </a:t>
            </a:r>
            <a:r>
              <a:rPr lang="fr-FR" sz="1401" dirty="0" err="1">
                <a:solidFill>
                  <a:srgbClr val="FFFFFF"/>
                </a:solidFill>
              </a:rPr>
              <a:t>suscipit</a:t>
            </a:r>
            <a:r>
              <a:rPr lang="fr-FR" sz="1401" dirty="0">
                <a:solidFill>
                  <a:srgbClr val="FFFFFF"/>
                </a:solidFill>
              </a:rPr>
              <a:t> </a:t>
            </a:r>
            <a:r>
              <a:rPr lang="fr-FR" sz="1401" dirty="0" err="1">
                <a:solidFill>
                  <a:srgbClr val="FFFFFF"/>
                </a:solidFill>
              </a:rPr>
              <a:t>egestas</a:t>
            </a:r>
            <a:r>
              <a:rPr lang="fr-FR" sz="1401" dirty="0">
                <a:solidFill>
                  <a:srgbClr val="FFFFFF"/>
                </a:solidFill>
              </a:rPr>
              <a:t>.</a:t>
            </a:r>
          </a:p>
        </p:txBody>
      </p:sp>
      <p:sp>
        <p:nvSpPr>
          <p:cNvPr id="26" name="Text Placeholder 3"/>
          <p:cNvSpPr>
            <a:spLocks noGrp="1"/>
          </p:cNvSpPr>
          <p:nvPr>
            <p:ph type="body" sz="quarter" idx="26" hasCustomPrompt="1"/>
          </p:nvPr>
        </p:nvSpPr>
        <p:spPr>
          <a:xfrm>
            <a:off x="10066339"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72" rtl="0" eaLnBrk="1" latinLnBrk="0" hangingPunct="1">
              <a:lnSpc>
                <a:spcPts val="1599"/>
              </a:lnSpc>
              <a:spcBef>
                <a:spcPts val="0"/>
              </a:spcBef>
              <a:buClr>
                <a:srgbClr val="FFFFFF"/>
              </a:buClr>
              <a:buSzPct val="100000"/>
              <a:buFont typeface="Arial"/>
              <a:buNone/>
              <a:defRPr/>
            </a:lvl2pPr>
          </a:lstStyle>
          <a:p>
            <a:pPr marL="0" lvl="1" indent="0" algn="ctr" defTabSz="961772" rtl="0" eaLnBrk="1" latinLnBrk="0" hangingPunct="1">
              <a:lnSpc>
                <a:spcPts val="1599"/>
              </a:lnSpc>
              <a:spcBef>
                <a:spcPts val="0"/>
              </a:spcBef>
              <a:buClr>
                <a:srgbClr val="FFFFFF"/>
              </a:buClr>
              <a:buSzPct val="100000"/>
              <a:buFont typeface="Arial"/>
              <a:buNone/>
            </a:pPr>
            <a:r>
              <a:rPr lang="fr-FR" sz="1401" dirty="0">
                <a:solidFill>
                  <a:srgbClr val="FFFFFF"/>
                </a:solidFill>
              </a:rPr>
              <a:t>Ut </a:t>
            </a:r>
            <a:r>
              <a:rPr lang="fr-FR" sz="1401" dirty="0" err="1">
                <a:solidFill>
                  <a:srgbClr val="FFFFFF"/>
                </a:solidFill>
              </a:rPr>
              <a:t>adipiscing</a:t>
            </a:r>
            <a:r>
              <a:rPr lang="fr-FR" sz="1401" dirty="0">
                <a:solidFill>
                  <a:srgbClr val="FFFFFF"/>
                </a:solidFill>
              </a:rPr>
              <a:t> </a:t>
            </a:r>
            <a:r>
              <a:rPr lang="fr-FR" sz="1401" dirty="0" err="1">
                <a:solidFill>
                  <a:srgbClr val="FFFFFF"/>
                </a:solidFill>
              </a:rPr>
              <a:t>lectus</a:t>
            </a:r>
            <a:r>
              <a:rPr lang="fr-FR" sz="1401" dirty="0">
                <a:solidFill>
                  <a:srgbClr val="FFFFFF"/>
                </a:solidFill>
              </a:rPr>
              <a:t> in </a:t>
            </a:r>
            <a:r>
              <a:rPr lang="fr-FR" sz="1401" dirty="0" err="1">
                <a:solidFill>
                  <a:srgbClr val="FFFFFF"/>
                </a:solidFill>
              </a:rPr>
              <a:t>turpis</a:t>
            </a:r>
            <a:r>
              <a:rPr lang="fr-FR" sz="1401" dirty="0">
                <a:solidFill>
                  <a:srgbClr val="FFFFFF"/>
                </a:solidFill>
              </a:rPr>
              <a:t> </a:t>
            </a:r>
            <a:r>
              <a:rPr lang="fr-FR" sz="1401" dirty="0" err="1">
                <a:solidFill>
                  <a:srgbClr val="FFFFFF"/>
                </a:solidFill>
              </a:rPr>
              <a:t>suscipit</a:t>
            </a:r>
            <a:r>
              <a:rPr lang="fr-FR" sz="1401" dirty="0">
                <a:solidFill>
                  <a:srgbClr val="FFFFFF"/>
                </a:solidFill>
              </a:rPr>
              <a:t> </a:t>
            </a:r>
            <a:r>
              <a:rPr lang="fr-FR" sz="1401" dirty="0" err="1">
                <a:solidFill>
                  <a:srgbClr val="FFFFFF"/>
                </a:solidFill>
              </a:rPr>
              <a:t>egestas</a:t>
            </a:r>
            <a:r>
              <a:rPr lang="fr-FR" sz="1401" dirty="0">
                <a:solidFill>
                  <a:srgbClr val="FFFFFF"/>
                </a:solidFill>
              </a:rPr>
              <a:t>.</a:t>
            </a:r>
          </a:p>
        </p:txBody>
      </p:sp>
      <p:sp>
        <p:nvSpPr>
          <p:cNvPr id="18"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9" y="1591"/>
          <a:ext cx="2116" cy="1586"/>
        </p:xfrm>
        <a:graphic>
          <a:graphicData uri="http://schemas.openxmlformats.org/presentationml/2006/ole">
            <mc:AlternateContent xmlns:mc="http://schemas.openxmlformats.org/markup-compatibility/2006">
              <mc:Choice xmlns:v="urn:schemas-microsoft-com:vml" Requires="v">
                <p:oleObj spid="_x0000_s1095817"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1"/>
                        <a:ext cx="2116" cy="158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1"/>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1" y="1395413"/>
            <a:ext cx="3067534" cy="1870291"/>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599"/>
              </a:lnSpc>
              <a:defRPr sz="1799" b="0">
                <a:solidFill>
                  <a:srgbClr val="FFFFFF"/>
                </a:solidFill>
              </a:defRPr>
            </a:lvl1pPr>
            <a:lvl2pPr algn="ctr">
              <a:lnSpc>
                <a:spcPts val="1899"/>
              </a:lnSpc>
              <a:defRPr sz="1799"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algn="ctr">
              <a:lnSpc>
                <a:spcPts val="1599"/>
              </a:lnSpc>
              <a:defRPr lang="en-US" sz="1401"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1" b="0">
                <a:solidFill>
                  <a:srgbClr val="FFFFFF"/>
                </a:solidFill>
              </a:defRPr>
            </a:lvl4pPr>
            <a:lvl5pPr algn="ctr">
              <a:defRPr sz="1401" b="0">
                <a:solidFill>
                  <a:srgbClr val="FFFFFF"/>
                </a:solidFill>
              </a:defRPr>
            </a:lvl5pPr>
          </a:lstStyle>
          <a:p>
            <a:pPr marL="0" lvl="0" indent="0" algn="ctr" defTabSz="961772" rtl="0" eaLnBrk="1" latinLnBrk="0" hangingPunct="1">
              <a:lnSpc>
                <a:spcPts val="1599"/>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772"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8" y="1395415"/>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72" rtl="0" eaLnBrk="1" latinLnBrk="0" hangingPunct="1">
              <a:lnSpc>
                <a:spcPts val="1899"/>
              </a:lnSpc>
              <a:spcBef>
                <a:spcPts val="0"/>
              </a:spcBef>
              <a:buClr>
                <a:srgbClr val="FFFFFF"/>
              </a:buClr>
              <a:buSzPct val="100000"/>
              <a:buFont typeface="Arial"/>
              <a:buNone/>
              <a:defRPr lang="en-US" sz="1799"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1" b="0">
                <a:solidFill>
                  <a:srgbClr val="FFFFFF"/>
                </a:solidFill>
              </a:defRPr>
            </a:lvl4pPr>
            <a:lvl5pPr algn="ctr">
              <a:defRPr sz="1401" b="0">
                <a:solidFill>
                  <a:srgbClr val="FFFFFF"/>
                </a:solidFill>
              </a:defRPr>
            </a:lvl5pPr>
          </a:lstStyle>
          <a:p>
            <a:pPr lvl="0"/>
            <a:r>
              <a:rPr lang="en-US" dirty="0"/>
              <a:t>XX%</a:t>
            </a:r>
          </a:p>
          <a:p>
            <a:pPr marL="0" lvl="1" indent="0" algn="ctr" defTabSz="961772" rtl="0" eaLnBrk="1" latinLnBrk="0" hangingPunct="1">
              <a:lnSpc>
                <a:spcPts val="1899"/>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772"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2"/>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72" rtl="0" eaLnBrk="1" latinLnBrk="0" hangingPunct="1">
              <a:lnSpc>
                <a:spcPts val="1899"/>
              </a:lnSpc>
              <a:spcBef>
                <a:spcPts val="0"/>
              </a:spcBef>
              <a:buClr>
                <a:srgbClr val="FFFFFF"/>
              </a:buClr>
              <a:buSzPct val="100000"/>
              <a:buFont typeface="Arial"/>
              <a:buNone/>
              <a:defRPr lang="en-US" sz="1799"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1" b="0">
                <a:solidFill>
                  <a:srgbClr val="FFFFFF"/>
                </a:solidFill>
              </a:defRPr>
            </a:lvl4pPr>
            <a:lvl5pPr algn="ctr">
              <a:defRPr sz="1401" b="0">
                <a:solidFill>
                  <a:srgbClr val="FFFFFF"/>
                </a:solidFill>
              </a:defRPr>
            </a:lvl5pPr>
          </a:lstStyle>
          <a:p>
            <a:pPr marL="0" lvl="0" indent="0" algn="ctr" defTabSz="961772" rtl="0" eaLnBrk="1" latinLnBrk="0" hangingPunct="1">
              <a:lnSpc>
                <a:spcPts val="1599"/>
              </a:lnSpc>
              <a:spcBef>
                <a:spcPts val="0"/>
              </a:spcBef>
              <a:buClr>
                <a:srgbClr val="FFFFFF"/>
              </a:buClr>
              <a:buSzPct val="100000"/>
              <a:buFont typeface="Arial"/>
              <a:buNone/>
            </a:pPr>
            <a:r>
              <a:rPr lang="en-US" dirty="0"/>
              <a:t>XX%</a:t>
            </a:r>
          </a:p>
          <a:p>
            <a:pPr marL="0" lvl="1" indent="0" algn="ctr" defTabSz="961772" rtl="0" eaLnBrk="1" latinLnBrk="0" hangingPunct="1">
              <a:lnSpc>
                <a:spcPts val="1899"/>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772"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4" y="1398591"/>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72" rtl="0" eaLnBrk="1" latinLnBrk="0" hangingPunct="1">
              <a:lnSpc>
                <a:spcPts val="1599"/>
              </a:lnSpc>
              <a:spcBef>
                <a:spcPts val="0"/>
              </a:spcBef>
              <a:buClr>
                <a:srgbClr val="FFFFFF"/>
              </a:buClr>
              <a:buSzPct val="100000"/>
              <a:buFont typeface="Arial"/>
              <a:buNone/>
              <a:defRPr lang="en-US" sz="1401"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1" b="0">
                <a:solidFill>
                  <a:srgbClr val="FFFFFF"/>
                </a:solidFill>
              </a:defRPr>
            </a:lvl4pPr>
            <a:lvl5pPr algn="ctr">
              <a:defRPr sz="1401" b="0">
                <a:solidFill>
                  <a:srgbClr val="FFFFFF"/>
                </a:solidFill>
              </a:defRPr>
            </a:lvl5pPr>
          </a:lstStyle>
          <a:p>
            <a:pPr lvl="0"/>
            <a:r>
              <a:rPr lang="en-US" dirty="0"/>
              <a:t>XX%</a:t>
            </a:r>
          </a:p>
          <a:p>
            <a:pPr marL="0" lvl="1" indent="0" algn="ctr" defTabSz="961772" rtl="0" eaLnBrk="1" latinLnBrk="0" hangingPunct="1">
              <a:lnSpc>
                <a:spcPts val="1599"/>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772"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3"/>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72" rtl="0" eaLnBrk="1" latinLnBrk="0" hangingPunct="1">
              <a:lnSpc>
                <a:spcPts val="1899"/>
              </a:lnSpc>
              <a:spcBef>
                <a:spcPts val="0"/>
              </a:spcBef>
              <a:buClr>
                <a:srgbClr val="FFFFFF"/>
              </a:buClr>
              <a:buSzPct val="100000"/>
              <a:buFont typeface="Arial"/>
              <a:buNone/>
              <a:defRPr lang="en-US" sz="1799"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1" b="0">
                <a:solidFill>
                  <a:srgbClr val="FFFFFF"/>
                </a:solidFill>
              </a:defRPr>
            </a:lvl4pPr>
            <a:lvl5pPr algn="ctr">
              <a:defRPr sz="1401" b="0">
                <a:solidFill>
                  <a:srgbClr val="FFFFFF"/>
                </a:solidFill>
              </a:defRPr>
            </a:lvl5pPr>
          </a:lstStyle>
          <a:p>
            <a:pPr marL="0" lvl="0" indent="0" algn="ctr" defTabSz="961772" rtl="0" eaLnBrk="1" latinLnBrk="0" hangingPunct="1">
              <a:lnSpc>
                <a:spcPts val="1899"/>
              </a:lnSpc>
              <a:spcBef>
                <a:spcPts val="0"/>
              </a:spcBef>
              <a:buClr>
                <a:srgbClr val="FFFFFF"/>
              </a:buClr>
              <a:buSzPct val="100000"/>
              <a:buFont typeface="Arial"/>
              <a:buNone/>
            </a:pPr>
            <a:r>
              <a:rPr lang="en-US" dirty="0"/>
              <a:t>XX%</a:t>
            </a:r>
          </a:p>
          <a:p>
            <a:pPr marL="0" lvl="1" indent="0" algn="ctr" defTabSz="961772" rtl="0" eaLnBrk="1" latinLnBrk="0" hangingPunct="1">
              <a:lnSpc>
                <a:spcPts val="1899"/>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772"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9684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1"/>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9"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599"/>
              </a:lnSpc>
              <a:defRPr sz="1799" b="0">
                <a:solidFill>
                  <a:srgbClr val="FFFFFF"/>
                </a:solidFill>
              </a:defRPr>
            </a:lvl1pPr>
            <a:lvl2pPr algn="ctr">
              <a:lnSpc>
                <a:spcPts val="1599"/>
              </a:lnSpc>
              <a:defRPr lang="en-US" sz="1401"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6" y="1385026"/>
            <a:ext cx="3054832" cy="1158747"/>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599"/>
              </a:lnSpc>
              <a:defRPr sz="1799" b="0">
                <a:solidFill>
                  <a:srgbClr val="FFFFFF"/>
                </a:solidFill>
              </a:defRPr>
            </a:lvl1pPr>
            <a:lvl2pPr marL="0" indent="0" algn="ctr" defTabSz="961772" rtl="0" eaLnBrk="1" latinLnBrk="0" hangingPunct="1">
              <a:lnSpc>
                <a:spcPts val="1599"/>
              </a:lnSpc>
              <a:spcBef>
                <a:spcPts val="0"/>
              </a:spcBef>
              <a:buClr>
                <a:srgbClr val="FFFFFF"/>
              </a:buClr>
              <a:buSzPct val="100000"/>
              <a:buFont typeface="Arial"/>
              <a:buNone/>
              <a:defRPr lang="en-US" sz="1401"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772" rtl="0" eaLnBrk="1" latinLnBrk="0" hangingPunct="1">
              <a:lnSpc>
                <a:spcPts val="1599"/>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1"/>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599"/>
              </a:lnSpc>
              <a:defRPr sz="1799" b="0">
                <a:solidFill>
                  <a:srgbClr val="FFFFFF"/>
                </a:solidFill>
              </a:defRPr>
            </a:lvl1pPr>
            <a:lvl2pPr algn="ctr">
              <a:lnSpc>
                <a:spcPts val="1899"/>
              </a:lnSpc>
              <a:defRPr lang="en-US" sz="1401"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772" rtl="0" eaLnBrk="1" latinLnBrk="0" hangingPunct="1">
              <a:lnSpc>
                <a:spcPts val="1599"/>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4"/>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599"/>
              </a:lnSpc>
              <a:defRPr sz="1799" b="0">
                <a:solidFill>
                  <a:srgbClr val="FFFFFF"/>
                </a:solidFill>
              </a:defRPr>
            </a:lvl1pPr>
            <a:lvl2pPr algn="ctr">
              <a:lnSpc>
                <a:spcPts val="1599"/>
              </a:lnSpc>
              <a:defRPr lang="en-US" sz="1401"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97865"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1" y="4087685"/>
            <a:ext cx="4156813"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1" y="1901114"/>
            <a:ext cx="4156813"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1" y="2984757"/>
            <a:ext cx="4156813"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7"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1"/>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4"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4"/>
            <a:ext cx="4169404"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7"/>
            <a:ext cx="4169404"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1"/>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CM Characters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pic>
        <p:nvPicPr>
          <p:cNvPr id="19" name="Picture 2"/>
          <p:cNvPicPr>
            <a:picLocks noChangeAspect="1" noChangeArrowheads="1"/>
          </p:cNvPicPr>
          <p:nvPr userDrawn="1"/>
        </p:nvPicPr>
        <p:blipFill>
          <a:blip r:embed="rId2"/>
          <a:srcRect/>
          <a:stretch>
            <a:fillRect/>
          </a:stretch>
        </p:blipFill>
        <p:spPr bwMode="auto">
          <a:xfrm>
            <a:off x="564255" y="2362458"/>
            <a:ext cx="1513654" cy="1176338"/>
          </a:xfrm>
          <a:prstGeom prst="rect">
            <a:avLst/>
          </a:prstGeom>
          <a:noFill/>
          <a:ln w="9525">
            <a:noFill/>
            <a:miter lim="800000"/>
            <a:headEnd/>
            <a:tailEnd/>
          </a:ln>
          <a:effectLst/>
        </p:spPr>
      </p:pic>
      <p:pic>
        <p:nvPicPr>
          <p:cNvPr id="20" name="Picture 3"/>
          <p:cNvPicPr>
            <a:picLocks noChangeAspect="1" noChangeArrowheads="1"/>
          </p:cNvPicPr>
          <p:nvPr userDrawn="1"/>
        </p:nvPicPr>
        <p:blipFill>
          <a:blip r:embed="rId3"/>
          <a:srcRect/>
          <a:stretch>
            <a:fillRect/>
          </a:stretch>
        </p:blipFill>
        <p:spPr bwMode="auto">
          <a:xfrm>
            <a:off x="2487070" y="2052268"/>
            <a:ext cx="1124126" cy="1443037"/>
          </a:xfrm>
          <a:prstGeom prst="rect">
            <a:avLst/>
          </a:prstGeom>
          <a:noFill/>
          <a:ln w="9525">
            <a:noFill/>
            <a:miter lim="800000"/>
            <a:headEnd/>
            <a:tailEnd/>
          </a:ln>
          <a:effectLst/>
        </p:spPr>
      </p:pic>
      <p:pic>
        <p:nvPicPr>
          <p:cNvPr id="21" name="Picture 5"/>
          <p:cNvPicPr>
            <a:picLocks noChangeAspect="1" noChangeArrowheads="1"/>
          </p:cNvPicPr>
          <p:nvPr userDrawn="1"/>
        </p:nvPicPr>
        <p:blipFill>
          <a:blip r:embed="rId4"/>
          <a:srcRect/>
          <a:stretch>
            <a:fillRect/>
          </a:stretch>
        </p:blipFill>
        <p:spPr bwMode="auto">
          <a:xfrm>
            <a:off x="4412697" y="1423618"/>
            <a:ext cx="2051374" cy="2071687"/>
          </a:xfrm>
          <a:prstGeom prst="rect">
            <a:avLst/>
          </a:prstGeom>
          <a:noFill/>
          <a:ln w="9525">
            <a:noFill/>
            <a:miter lim="800000"/>
            <a:headEnd/>
            <a:tailEnd/>
          </a:ln>
          <a:effectLst/>
        </p:spPr>
      </p:pic>
      <p:pic>
        <p:nvPicPr>
          <p:cNvPr id="22" name="Picture 6"/>
          <p:cNvPicPr>
            <a:picLocks noChangeAspect="1" noChangeArrowheads="1"/>
          </p:cNvPicPr>
          <p:nvPr userDrawn="1"/>
        </p:nvPicPr>
        <p:blipFill>
          <a:blip r:embed="rId5"/>
          <a:srcRect/>
          <a:stretch>
            <a:fillRect/>
          </a:stretch>
        </p:blipFill>
        <p:spPr bwMode="auto">
          <a:xfrm>
            <a:off x="7149312" y="1976066"/>
            <a:ext cx="734600" cy="1519238"/>
          </a:xfrm>
          <a:prstGeom prst="rect">
            <a:avLst/>
          </a:prstGeom>
          <a:noFill/>
          <a:ln w="9525">
            <a:noFill/>
            <a:miter lim="800000"/>
            <a:headEnd/>
            <a:tailEnd/>
          </a:ln>
          <a:effectLst/>
        </p:spPr>
      </p:pic>
      <p:pic>
        <p:nvPicPr>
          <p:cNvPr id="23" name="Picture 7"/>
          <p:cNvPicPr>
            <a:picLocks noChangeAspect="1" noChangeArrowheads="1"/>
          </p:cNvPicPr>
          <p:nvPr userDrawn="1"/>
        </p:nvPicPr>
        <p:blipFill>
          <a:blip r:embed="rId6"/>
          <a:srcRect/>
          <a:stretch>
            <a:fillRect/>
          </a:stretch>
        </p:blipFill>
        <p:spPr bwMode="auto">
          <a:xfrm>
            <a:off x="8141142" y="1877642"/>
            <a:ext cx="1001340" cy="1617662"/>
          </a:xfrm>
          <a:prstGeom prst="rect">
            <a:avLst/>
          </a:prstGeom>
          <a:noFill/>
          <a:ln w="9525">
            <a:noFill/>
            <a:miter lim="800000"/>
            <a:headEnd/>
            <a:tailEnd/>
          </a:ln>
          <a:effectLst/>
        </p:spPr>
      </p:pic>
      <p:pic>
        <p:nvPicPr>
          <p:cNvPr id="24" name="Picture 8"/>
          <p:cNvPicPr>
            <a:picLocks noChangeAspect="1" noChangeArrowheads="1"/>
          </p:cNvPicPr>
          <p:nvPr userDrawn="1"/>
        </p:nvPicPr>
        <p:blipFill>
          <a:blip r:embed="rId7"/>
          <a:srcRect/>
          <a:stretch>
            <a:fillRect/>
          </a:stretch>
        </p:blipFill>
        <p:spPr bwMode="auto">
          <a:xfrm>
            <a:off x="10131384" y="1512516"/>
            <a:ext cx="2519230" cy="1982789"/>
          </a:xfrm>
          <a:prstGeom prst="rect">
            <a:avLst/>
          </a:prstGeom>
          <a:noFill/>
          <a:ln w="9525">
            <a:noFill/>
            <a:miter lim="800000"/>
            <a:headEnd/>
            <a:tailEnd/>
          </a:ln>
          <a:effectLst/>
        </p:spPr>
      </p:pic>
      <p:pic>
        <p:nvPicPr>
          <p:cNvPr id="25" name="Picture 9"/>
          <p:cNvPicPr>
            <a:picLocks noChangeAspect="1" noChangeArrowheads="1"/>
          </p:cNvPicPr>
          <p:nvPr userDrawn="1"/>
        </p:nvPicPr>
        <p:blipFill>
          <a:blip r:embed="rId8"/>
          <a:srcRect/>
          <a:stretch>
            <a:fillRect/>
          </a:stretch>
        </p:blipFill>
        <p:spPr bwMode="auto">
          <a:xfrm>
            <a:off x="496801" y="4225859"/>
            <a:ext cx="2068308" cy="2071687"/>
          </a:xfrm>
          <a:prstGeom prst="rect">
            <a:avLst/>
          </a:prstGeom>
          <a:noFill/>
          <a:ln w="9525">
            <a:noFill/>
            <a:miter lim="800000"/>
            <a:headEnd/>
            <a:tailEnd/>
          </a:ln>
          <a:effectLst/>
        </p:spPr>
      </p:pic>
      <p:pic>
        <p:nvPicPr>
          <p:cNvPr id="26" name="Picture 10"/>
          <p:cNvPicPr>
            <a:picLocks noChangeAspect="1" noChangeArrowheads="1"/>
          </p:cNvPicPr>
          <p:nvPr userDrawn="1"/>
        </p:nvPicPr>
        <p:blipFill>
          <a:blip r:embed="rId9"/>
          <a:srcRect/>
          <a:stretch>
            <a:fillRect/>
          </a:stretch>
        </p:blipFill>
        <p:spPr bwMode="auto">
          <a:xfrm>
            <a:off x="3129710" y="4314760"/>
            <a:ext cx="1581398" cy="1982787"/>
          </a:xfrm>
          <a:prstGeom prst="rect">
            <a:avLst/>
          </a:prstGeom>
          <a:noFill/>
          <a:ln w="9525">
            <a:noFill/>
            <a:miter lim="800000"/>
            <a:headEnd/>
            <a:tailEnd/>
          </a:ln>
          <a:effectLst/>
        </p:spPr>
      </p:pic>
      <p:pic>
        <p:nvPicPr>
          <p:cNvPr id="27" name="Picture 11"/>
          <p:cNvPicPr>
            <a:picLocks noChangeAspect="1" noChangeArrowheads="1"/>
          </p:cNvPicPr>
          <p:nvPr userDrawn="1"/>
        </p:nvPicPr>
        <p:blipFill>
          <a:blip r:embed="rId10"/>
          <a:srcRect/>
          <a:stretch>
            <a:fillRect/>
          </a:stretch>
        </p:blipFill>
        <p:spPr bwMode="auto">
          <a:xfrm>
            <a:off x="5271041" y="4225859"/>
            <a:ext cx="2193212" cy="2071688"/>
          </a:xfrm>
          <a:prstGeom prst="rect">
            <a:avLst/>
          </a:prstGeom>
          <a:noFill/>
          <a:ln w="9525">
            <a:noFill/>
            <a:miter lim="800000"/>
            <a:headEnd/>
            <a:tailEnd/>
          </a:ln>
          <a:effectLst/>
        </p:spPr>
      </p:pic>
      <p:pic>
        <p:nvPicPr>
          <p:cNvPr id="28" name="Picture 12"/>
          <p:cNvPicPr>
            <a:picLocks noChangeAspect="1" noChangeArrowheads="1"/>
          </p:cNvPicPr>
          <p:nvPr userDrawn="1"/>
        </p:nvPicPr>
        <p:blipFill>
          <a:blip r:embed="rId11"/>
          <a:srcRect/>
          <a:stretch>
            <a:fillRect/>
          </a:stretch>
        </p:blipFill>
        <p:spPr bwMode="auto">
          <a:xfrm>
            <a:off x="7679606" y="4225859"/>
            <a:ext cx="2320232" cy="2071687"/>
          </a:xfrm>
          <a:prstGeom prst="rect">
            <a:avLst/>
          </a:prstGeom>
          <a:noFill/>
          <a:ln w="9525">
            <a:noFill/>
            <a:miter lim="800000"/>
            <a:headEnd/>
            <a:tailEnd/>
          </a:ln>
          <a:effectLst/>
        </p:spPr>
      </p:pic>
      <p:pic>
        <p:nvPicPr>
          <p:cNvPr id="29" name="Picture 13"/>
          <p:cNvPicPr>
            <a:picLocks noChangeAspect="1" noChangeArrowheads="1"/>
          </p:cNvPicPr>
          <p:nvPr userDrawn="1"/>
        </p:nvPicPr>
        <p:blipFill>
          <a:blip r:embed="rId12"/>
          <a:srcRect/>
          <a:stretch>
            <a:fillRect/>
          </a:stretch>
        </p:blipFill>
        <p:spPr bwMode="auto">
          <a:xfrm>
            <a:off x="10489215" y="3903596"/>
            <a:ext cx="1361230" cy="2393950"/>
          </a:xfrm>
          <a:prstGeom prst="rect">
            <a:avLst/>
          </a:prstGeom>
          <a:noFill/>
          <a:ln w="9525">
            <a:noFill/>
            <a:miter lim="800000"/>
            <a:headEnd/>
            <a:tailEnd/>
          </a:ln>
          <a:effectLst/>
        </p:spPr>
      </p:pic>
      <p:pic>
        <p:nvPicPr>
          <p:cNvPr id="30" name="Picture 14"/>
          <p:cNvPicPr>
            <a:picLocks noChangeAspect="1" noChangeArrowheads="1"/>
          </p:cNvPicPr>
          <p:nvPr userDrawn="1"/>
        </p:nvPicPr>
        <p:blipFill>
          <a:blip r:embed="rId13"/>
          <a:srcRect/>
          <a:stretch>
            <a:fillRect/>
          </a:stretch>
        </p:blipFill>
        <p:spPr bwMode="auto">
          <a:xfrm>
            <a:off x="12026445" y="3916297"/>
            <a:ext cx="770588" cy="2381250"/>
          </a:xfrm>
          <a:prstGeom prst="rect">
            <a:avLst/>
          </a:prstGeom>
          <a:noFill/>
          <a:ln w="9525">
            <a:noFill/>
            <a:miter lim="800000"/>
            <a:headEnd/>
            <a:tailEnd/>
          </a:ln>
          <a:effectLst/>
        </p:spPr>
      </p:pic>
    </p:spTree>
    <p:extLst>
      <p:ext uri="{BB962C8B-B14F-4D97-AF65-F5344CB8AC3E}">
        <p14:creationId xmlns:p14="http://schemas.microsoft.com/office/powerpoint/2010/main" val="127860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467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CM Characters 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pic>
        <p:nvPicPr>
          <p:cNvPr id="22" name="Picture 4"/>
          <p:cNvPicPr>
            <a:picLocks noChangeAspect="1" noChangeArrowheads="1"/>
          </p:cNvPicPr>
          <p:nvPr userDrawn="1"/>
        </p:nvPicPr>
        <p:blipFill>
          <a:blip r:embed="rId2"/>
          <a:srcRect/>
          <a:stretch>
            <a:fillRect/>
          </a:stretch>
        </p:blipFill>
        <p:spPr bwMode="auto">
          <a:xfrm>
            <a:off x="8050958" y="1868484"/>
            <a:ext cx="1001340" cy="1617663"/>
          </a:xfrm>
          <a:prstGeom prst="rect">
            <a:avLst/>
          </a:prstGeom>
          <a:noFill/>
          <a:ln w="9525">
            <a:noFill/>
            <a:miter lim="800000"/>
            <a:headEnd/>
            <a:tailEnd/>
          </a:ln>
          <a:effectLst/>
        </p:spPr>
      </p:pic>
      <p:pic>
        <p:nvPicPr>
          <p:cNvPr id="23" name="Picture 5"/>
          <p:cNvPicPr>
            <a:picLocks noChangeAspect="1" noChangeArrowheads="1"/>
          </p:cNvPicPr>
          <p:nvPr userDrawn="1"/>
        </p:nvPicPr>
        <p:blipFill>
          <a:blip r:embed="rId3"/>
          <a:srcRect/>
          <a:stretch>
            <a:fillRect/>
          </a:stretch>
        </p:blipFill>
        <p:spPr bwMode="auto">
          <a:xfrm>
            <a:off x="9247884" y="1925635"/>
            <a:ext cx="601228" cy="1560513"/>
          </a:xfrm>
          <a:prstGeom prst="rect">
            <a:avLst/>
          </a:prstGeom>
          <a:noFill/>
          <a:ln w="9525">
            <a:noFill/>
            <a:miter lim="800000"/>
            <a:headEnd/>
            <a:tailEnd/>
          </a:ln>
          <a:effectLst/>
        </p:spPr>
      </p:pic>
      <p:pic>
        <p:nvPicPr>
          <p:cNvPr id="24" name="Picture 6"/>
          <p:cNvPicPr>
            <a:picLocks noChangeAspect="1" noChangeArrowheads="1"/>
          </p:cNvPicPr>
          <p:nvPr userDrawn="1"/>
        </p:nvPicPr>
        <p:blipFill>
          <a:blip r:embed="rId4"/>
          <a:srcRect/>
          <a:stretch>
            <a:fillRect/>
          </a:stretch>
        </p:blipFill>
        <p:spPr bwMode="auto">
          <a:xfrm>
            <a:off x="10217122" y="1973259"/>
            <a:ext cx="463624" cy="1512888"/>
          </a:xfrm>
          <a:prstGeom prst="rect">
            <a:avLst/>
          </a:prstGeom>
          <a:noFill/>
          <a:ln w="9525">
            <a:noFill/>
            <a:miter lim="800000"/>
            <a:headEnd/>
            <a:tailEnd/>
          </a:ln>
          <a:effectLst/>
        </p:spPr>
      </p:pic>
      <p:pic>
        <p:nvPicPr>
          <p:cNvPr id="25" name="Picture 7"/>
          <p:cNvPicPr>
            <a:picLocks noChangeAspect="1" noChangeArrowheads="1"/>
          </p:cNvPicPr>
          <p:nvPr userDrawn="1"/>
        </p:nvPicPr>
        <p:blipFill>
          <a:blip r:embed="rId5"/>
          <a:srcRect/>
          <a:stretch>
            <a:fillRect/>
          </a:stretch>
        </p:blipFill>
        <p:spPr bwMode="auto">
          <a:xfrm>
            <a:off x="11099266" y="1966911"/>
            <a:ext cx="690142" cy="1519237"/>
          </a:xfrm>
          <a:prstGeom prst="rect">
            <a:avLst/>
          </a:prstGeom>
          <a:noFill/>
          <a:ln w="9525">
            <a:noFill/>
            <a:miter lim="800000"/>
            <a:headEnd/>
            <a:tailEnd/>
          </a:ln>
          <a:effectLst/>
        </p:spPr>
      </p:pic>
      <p:pic>
        <p:nvPicPr>
          <p:cNvPr id="26" name="Picture 9"/>
          <p:cNvPicPr>
            <a:picLocks noChangeAspect="1" noChangeArrowheads="1"/>
          </p:cNvPicPr>
          <p:nvPr userDrawn="1"/>
        </p:nvPicPr>
        <p:blipFill>
          <a:blip r:embed="rId6"/>
          <a:srcRect/>
          <a:stretch>
            <a:fillRect/>
          </a:stretch>
        </p:blipFill>
        <p:spPr bwMode="auto">
          <a:xfrm>
            <a:off x="12023312" y="1973259"/>
            <a:ext cx="920894" cy="1512888"/>
          </a:xfrm>
          <a:prstGeom prst="rect">
            <a:avLst/>
          </a:prstGeom>
          <a:noFill/>
          <a:ln w="9525">
            <a:noFill/>
            <a:miter lim="800000"/>
            <a:headEnd/>
            <a:tailEnd/>
          </a:ln>
          <a:effectLst/>
        </p:spPr>
      </p:pic>
      <p:pic>
        <p:nvPicPr>
          <p:cNvPr id="27" name="Picture 10"/>
          <p:cNvPicPr>
            <a:picLocks noChangeAspect="1" noChangeArrowheads="1"/>
          </p:cNvPicPr>
          <p:nvPr userDrawn="1"/>
        </p:nvPicPr>
        <p:blipFill>
          <a:blip r:embed="rId7"/>
          <a:srcRect/>
          <a:stretch>
            <a:fillRect/>
          </a:stretch>
        </p:blipFill>
        <p:spPr bwMode="auto">
          <a:xfrm>
            <a:off x="2067698" y="4483775"/>
            <a:ext cx="1407806" cy="1787525"/>
          </a:xfrm>
          <a:prstGeom prst="rect">
            <a:avLst/>
          </a:prstGeom>
          <a:noFill/>
          <a:ln w="9525">
            <a:noFill/>
            <a:miter lim="800000"/>
            <a:headEnd/>
            <a:tailEnd/>
          </a:ln>
          <a:effectLst/>
        </p:spPr>
      </p:pic>
      <p:pic>
        <p:nvPicPr>
          <p:cNvPr id="28" name="Picture 27"/>
          <p:cNvPicPr>
            <a:picLocks noChangeAspect="1" noChangeArrowheads="1"/>
          </p:cNvPicPr>
          <p:nvPr userDrawn="1"/>
        </p:nvPicPr>
        <p:blipFill>
          <a:blip r:embed="rId8"/>
          <a:srcRect/>
          <a:stretch>
            <a:fillRect/>
          </a:stretch>
        </p:blipFill>
        <p:spPr bwMode="auto">
          <a:xfrm>
            <a:off x="5350906" y="4585376"/>
            <a:ext cx="990756" cy="1685925"/>
          </a:xfrm>
          <a:prstGeom prst="rect">
            <a:avLst/>
          </a:prstGeom>
          <a:noFill/>
          <a:ln w="9525">
            <a:noFill/>
            <a:miter lim="800000"/>
            <a:headEnd/>
            <a:tailEnd/>
          </a:ln>
          <a:effectLst/>
        </p:spPr>
      </p:pic>
      <p:pic>
        <p:nvPicPr>
          <p:cNvPr id="29" name="Picture 3"/>
          <p:cNvPicPr>
            <a:picLocks noChangeAspect="1" noChangeArrowheads="1"/>
          </p:cNvPicPr>
          <p:nvPr userDrawn="1"/>
        </p:nvPicPr>
        <p:blipFill>
          <a:blip r:embed="rId9"/>
          <a:srcRect/>
          <a:stretch>
            <a:fillRect/>
          </a:stretch>
        </p:blipFill>
        <p:spPr bwMode="auto">
          <a:xfrm>
            <a:off x="8606215" y="4291689"/>
            <a:ext cx="1486134" cy="1979612"/>
          </a:xfrm>
          <a:prstGeom prst="rect">
            <a:avLst/>
          </a:prstGeom>
          <a:noFill/>
          <a:ln w="9525">
            <a:noFill/>
            <a:miter lim="800000"/>
            <a:headEnd/>
            <a:tailEnd/>
          </a:ln>
          <a:effectLst/>
        </p:spPr>
      </p:pic>
      <p:pic>
        <p:nvPicPr>
          <p:cNvPr id="30" name="Picture 4"/>
          <p:cNvPicPr>
            <a:picLocks noChangeAspect="1" noChangeArrowheads="1"/>
          </p:cNvPicPr>
          <p:nvPr userDrawn="1"/>
        </p:nvPicPr>
        <p:blipFill>
          <a:blip r:embed="rId10"/>
          <a:srcRect/>
          <a:stretch>
            <a:fillRect/>
          </a:stretch>
        </p:blipFill>
        <p:spPr bwMode="auto">
          <a:xfrm>
            <a:off x="4016010" y="4077376"/>
            <a:ext cx="990756" cy="2193925"/>
          </a:xfrm>
          <a:prstGeom prst="rect">
            <a:avLst/>
          </a:prstGeom>
          <a:noFill/>
          <a:ln w="9525">
            <a:noFill/>
            <a:miter lim="800000"/>
            <a:headEnd/>
            <a:tailEnd/>
          </a:ln>
          <a:effectLst/>
        </p:spPr>
      </p:pic>
      <p:pic>
        <p:nvPicPr>
          <p:cNvPr id="31" name="Picture 5"/>
          <p:cNvPicPr>
            <a:picLocks noChangeAspect="1" noChangeArrowheads="1"/>
          </p:cNvPicPr>
          <p:nvPr userDrawn="1"/>
        </p:nvPicPr>
        <p:blipFill>
          <a:blip r:embed="rId11"/>
          <a:srcRect/>
          <a:stretch>
            <a:fillRect/>
          </a:stretch>
        </p:blipFill>
        <p:spPr bwMode="auto">
          <a:xfrm>
            <a:off x="6810159" y="4253589"/>
            <a:ext cx="1460730" cy="2017712"/>
          </a:xfrm>
          <a:prstGeom prst="rect">
            <a:avLst/>
          </a:prstGeom>
          <a:noFill/>
          <a:ln w="9525">
            <a:noFill/>
            <a:miter lim="800000"/>
            <a:headEnd/>
            <a:tailEnd/>
          </a:ln>
          <a:effectLst/>
        </p:spPr>
      </p:pic>
      <p:pic>
        <p:nvPicPr>
          <p:cNvPr id="32" name="Picture 6"/>
          <p:cNvPicPr>
            <a:picLocks noChangeAspect="1" noChangeArrowheads="1"/>
          </p:cNvPicPr>
          <p:nvPr userDrawn="1"/>
        </p:nvPicPr>
        <p:blipFill>
          <a:blip r:embed="rId12"/>
          <a:srcRect/>
          <a:stretch>
            <a:fillRect/>
          </a:stretch>
        </p:blipFill>
        <p:spPr bwMode="auto">
          <a:xfrm>
            <a:off x="465306" y="4509175"/>
            <a:ext cx="1318890" cy="1762125"/>
          </a:xfrm>
          <a:prstGeom prst="rect">
            <a:avLst/>
          </a:prstGeom>
          <a:noFill/>
          <a:ln w="9525">
            <a:noFill/>
            <a:miter lim="800000"/>
            <a:headEnd/>
            <a:tailEnd/>
          </a:ln>
          <a:effectLst/>
        </p:spPr>
      </p:pic>
      <p:pic>
        <p:nvPicPr>
          <p:cNvPr id="33" name="Picture 2"/>
          <p:cNvPicPr>
            <a:picLocks noChangeAspect="1" noChangeArrowheads="1"/>
          </p:cNvPicPr>
          <p:nvPr userDrawn="1"/>
        </p:nvPicPr>
        <p:blipFill>
          <a:blip r:embed="rId13"/>
          <a:srcRect/>
          <a:stretch>
            <a:fillRect/>
          </a:stretch>
        </p:blipFill>
        <p:spPr bwMode="auto">
          <a:xfrm>
            <a:off x="10671622" y="4955263"/>
            <a:ext cx="2504412" cy="1316038"/>
          </a:xfrm>
          <a:prstGeom prst="rect">
            <a:avLst/>
          </a:prstGeom>
          <a:noFill/>
          <a:ln w="9525">
            <a:noFill/>
            <a:miter lim="800000"/>
            <a:headEnd/>
            <a:tailEnd/>
          </a:ln>
          <a:effectLst/>
        </p:spPr>
      </p:pic>
      <p:pic>
        <p:nvPicPr>
          <p:cNvPr id="34" name="Picture 2"/>
          <p:cNvPicPr>
            <a:picLocks noChangeAspect="1" noChangeArrowheads="1"/>
          </p:cNvPicPr>
          <p:nvPr userDrawn="1"/>
        </p:nvPicPr>
        <p:blipFill>
          <a:blip r:embed="rId14"/>
          <a:srcRect/>
          <a:stretch>
            <a:fillRect/>
          </a:stretch>
        </p:blipFill>
        <p:spPr bwMode="auto">
          <a:xfrm>
            <a:off x="4396199" y="1912935"/>
            <a:ext cx="1526356" cy="1573213"/>
          </a:xfrm>
          <a:prstGeom prst="rect">
            <a:avLst/>
          </a:prstGeom>
          <a:noFill/>
          <a:ln w="9525">
            <a:noFill/>
            <a:miter lim="800000"/>
            <a:headEnd/>
            <a:tailEnd/>
          </a:ln>
          <a:effectLst/>
        </p:spPr>
      </p:pic>
      <p:pic>
        <p:nvPicPr>
          <p:cNvPr id="35" name="Picture 3"/>
          <p:cNvPicPr>
            <a:picLocks noChangeAspect="1" noChangeArrowheads="1"/>
          </p:cNvPicPr>
          <p:nvPr userDrawn="1"/>
        </p:nvPicPr>
        <p:blipFill>
          <a:blip r:embed="rId15"/>
          <a:srcRect/>
          <a:stretch>
            <a:fillRect/>
          </a:stretch>
        </p:blipFill>
        <p:spPr bwMode="auto">
          <a:xfrm>
            <a:off x="6312655" y="1808161"/>
            <a:ext cx="1392986" cy="1677987"/>
          </a:xfrm>
          <a:prstGeom prst="rect">
            <a:avLst/>
          </a:prstGeom>
          <a:noFill/>
          <a:ln w="9525">
            <a:noFill/>
            <a:miter lim="800000"/>
            <a:headEnd/>
            <a:tailEnd/>
          </a:ln>
          <a:effectLst/>
        </p:spPr>
      </p:pic>
      <p:pic>
        <p:nvPicPr>
          <p:cNvPr id="36" name="Picture 2"/>
          <p:cNvPicPr>
            <a:picLocks noChangeAspect="1" noChangeArrowheads="1"/>
          </p:cNvPicPr>
          <p:nvPr userDrawn="1"/>
        </p:nvPicPr>
        <p:blipFill>
          <a:blip r:embed="rId16"/>
          <a:srcRect/>
          <a:stretch>
            <a:fillRect/>
          </a:stretch>
        </p:blipFill>
        <p:spPr bwMode="auto">
          <a:xfrm>
            <a:off x="1323128" y="1503358"/>
            <a:ext cx="1445910" cy="1982789"/>
          </a:xfrm>
          <a:prstGeom prst="rect">
            <a:avLst/>
          </a:prstGeom>
          <a:noFill/>
          <a:ln w="9525">
            <a:noFill/>
            <a:miter lim="800000"/>
            <a:headEnd/>
            <a:tailEnd/>
          </a:ln>
          <a:effectLst/>
        </p:spPr>
      </p:pic>
      <p:pic>
        <p:nvPicPr>
          <p:cNvPr id="37" name="Picture 3"/>
          <p:cNvPicPr>
            <a:picLocks noChangeAspect="1" noChangeArrowheads="1"/>
          </p:cNvPicPr>
          <p:nvPr userDrawn="1"/>
        </p:nvPicPr>
        <p:blipFill>
          <a:blip r:embed="rId17"/>
          <a:srcRect/>
          <a:stretch>
            <a:fillRect/>
          </a:stretch>
        </p:blipFill>
        <p:spPr bwMode="auto">
          <a:xfrm>
            <a:off x="353011" y="2820985"/>
            <a:ext cx="1014042" cy="665162"/>
          </a:xfrm>
          <a:prstGeom prst="rect">
            <a:avLst/>
          </a:prstGeom>
          <a:noFill/>
          <a:ln w="9525">
            <a:noFill/>
            <a:miter lim="800000"/>
            <a:headEnd/>
            <a:tailEnd/>
          </a:ln>
          <a:effectLst/>
        </p:spPr>
      </p:pic>
      <p:pic>
        <p:nvPicPr>
          <p:cNvPr id="38" name="Picture 4"/>
          <p:cNvPicPr>
            <a:picLocks noChangeAspect="1" noChangeArrowheads="1"/>
          </p:cNvPicPr>
          <p:nvPr userDrawn="1"/>
        </p:nvPicPr>
        <p:blipFill>
          <a:blip r:embed="rId18"/>
          <a:srcRect/>
          <a:stretch>
            <a:fillRect/>
          </a:stretch>
        </p:blipFill>
        <p:spPr bwMode="auto">
          <a:xfrm>
            <a:off x="2675359" y="1811335"/>
            <a:ext cx="1420508" cy="1674813"/>
          </a:xfrm>
          <a:prstGeom prst="rect">
            <a:avLst/>
          </a:prstGeom>
          <a:noFill/>
          <a:ln w="9525">
            <a:noFill/>
            <a:miter lim="800000"/>
            <a:headEnd/>
            <a:tailEnd/>
          </a:ln>
          <a:effectLst/>
        </p:spPr>
      </p:pic>
    </p:spTree>
    <p:extLst>
      <p:ext uri="{BB962C8B-B14F-4D97-AF65-F5344CB8AC3E}">
        <p14:creationId xmlns:p14="http://schemas.microsoft.com/office/powerpoint/2010/main" val="427909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CM Characters 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pic>
        <p:nvPicPr>
          <p:cNvPr id="20" name="Picture 3"/>
          <p:cNvPicPr>
            <a:picLocks noChangeAspect="1" noChangeArrowheads="1"/>
          </p:cNvPicPr>
          <p:nvPr userDrawn="1"/>
        </p:nvPicPr>
        <p:blipFill>
          <a:blip r:embed="rId2"/>
          <a:srcRect/>
          <a:stretch>
            <a:fillRect/>
          </a:stretch>
        </p:blipFill>
        <p:spPr bwMode="auto">
          <a:xfrm>
            <a:off x="449922" y="2253457"/>
            <a:ext cx="2421848" cy="1243013"/>
          </a:xfrm>
          <a:prstGeom prst="rect">
            <a:avLst/>
          </a:prstGeom>
          <a:noFill/>
          <a:ln w="9525">
            <a:noFill/>
            <a:miter lim="800000"/>
            <a:headEnd/>
            <a:tailEnd/>
          </a:ln>
          <a:effectLst/>
        </p:spPr>
      </p:pic>
      <p:pic>
        <p:nvPicPr>
          <p:cNvPr id="21" name="Picture 4"/>
          <p:cNvPicPr>
            <a:picLocks noChangeAspect="1" noChangeArrowheads="1"/>
          </p:cNvPicPr>
          <p:nvPr userDrawn="1"/>
        </p:nvPicPr>
        <p:blipFill>
          <a:blip r:embed="rId3"/>
          <a:srcRect/>
          <a:stretch>
            <a:fillRect/>
          </a:stretch>
        </p:blipFill>
        <p:spPr bwMode="auto">
          <a:xfrm>
            <a:off x="5645756" y="1424782"/>
            <a:ext cx="1979396" cy="2071688"/>
          </a:xfrm>
          <a:prstGeom prst="rect">
            <a:avLst/>
          </a:prstGeom>
          <a:noFill/>
          <a:ln w="9525">
            <a:noFill/>
            <a:miter lim="800000"/>
            <a:headEnd/>
            <a:tailEnd/>
          </a:ln>
          <a:effectLst/>
        </p:spPr>
      </p:pic>
      <p:pic>
        <p:nvPicPr>
          <p:cNvPr id="22" name="Picture 5"/>
          <p:cNvPicPr>
            <a:picLocks noChangeAspect="1" noChangeArrowheads="1"/>
          </p:cNvPicPr>
          <p:nvPr userDrawn="1"/>
        </p:nvPicPr>
        <p:blipFill>
          <a:blip r:embed="rId4"/>
          <a:srcRect/>
          <a:stretch>
            <a:fillRect/>
          </a:stretch>
        </p:blipFill>
        <p:spPr bwMode="auto">
          <a:xfrm>
            <a:off x="7720839" y="1512096"/>
            <a:ext cx="1367582" cy="1984375"/>
          </a:xfrm>
          <a:prstGeom prst="rect">
            <a:avLst/>
          </a:prstGeom>
          <a:noFill/>
          <a:ln w="9525">
            <a:noFill/>
            <a:miter lim="800000"/>
            <a:headEnd/>
            <a:tailEnd/>
          </a:ln>
          <a:effectLst/>
        </p:spPr>
      </p:pic>
      <p:pic>
        <p:nvPicPr>
          <p:cNvPr id="23" name="Picture 6"/>
          <p:cNvPicPr>
            <a:picLocks noChangeAspect="1" noChangeArrowheads="1"/>
          </p:cNvPicPr>
          <p:nvPr userDrawn="1"/>
        </p:nvPicPr>
        <p:blipFill>
          <a:blip r:embed="rId5"/>
          <a:srcRect/>
          <a:stretch>
            <a:fillRect/>
          </a:stretch>
        </p:blipFill>
        <p:spPr bwMode="auto">
          <a:xfrm>
            <a:off x="9349086" y="1513683"/>
            <a:ext cx="806578" cy="1982787"/>
          </a:xfrm>
          <a:prstGeom prst="rect">
            <a:avLst/>
          </a:prstGeom>
          <a:noFill/>
          <a:ln w="9525">
            <a:noFill/>
            <a:miter lim="800000"/>
            <a:headEnd/>
            <a:tailEnd/>
          </a:ln>
          <a:effectLst/>
        </p:spPr>
      </p:pic>
      <p:pic>
        <p:nvPicPr>
          <p:cNvPr id="24" name="Picture 7"/>
          <p:cNvPicPr>
            <a:picLocks noChangeAspect="1" noChangeArrowheads="1"/>
          </p:cNvPicPr>
          <p:nvPr userDrawn="1"/>
        </p:nvPicPr>
        <p:blipFill>
          <a:blip r:embed="rId6"/>
          <a:srcRect/>
          <a:stretch>
            <a:fillRect/>
          </a:stretch>
        </p:blipFill>
        <p:spPr bwMode="auto">
          <a:xfrm>
            <a:off x="10306500" y="1512096"/>
            <a:ext cx="1934938" cy="1984375"/>
          </a:xfrm>
          <a:prstGeom prst="rect">
            <a:avLst/>
          </a:prstGeom>
          <a:noFill/>
          <a:ln w="9525">
            <a:noFill/>
            <a:miter lim="800000"/>
            <a:headEnd/>
            <a:tailEnd/>
          </a:ln>
          <a:effectLst/>
        </p:spPr>
      </p:pic>
      <p:pic>
        <p:nvPicPr>
          <p:cNvPr id="25" name="Picture 8"/>
          <p:cNvPicPr>
            <a:picLocks noChangeAspect="1" noChangeArrowheads="1"/>
          </p:cNvPicPr>
          <p:nvPr userDrawn="1"/>
        </p:nvPicPr>
        <p:blipFill>
          <a:blip r:embed="rId7"/>
          <a:srcRect/>
          <a:stretch>
            <a:fillRect/>
          </a:stretch>
        </p:blipFill>
        <p:spPr bwMode="auto">
          <a:xfrm>
            <a:off x="12280654" y="1513680"/>
            <a:ext cx="804460" cy="1982789"/>
          </a:xfrm>
          <a:prstGeom prst="rect">
            <a:avLst/>
          </a:prstGeom>
          <a:noFill/>
          <a:ln w="9525">
            <a:noFill/>
            <a:miter lim="800000"/>
            <a:headEnd/>
            <a:tailEnd/>
          </a:ln>
          <a:effectLst/>
        </p:spPr>
      </p:pic>
      <p:pic>
        <p:nvPicPr>
          <p:cNvPr id="26" name="Picture 9"/>
          <p:cNvPicPr>
            <a:picLocks noChangeAspect="1" noChangeArrowheads="1"/>
          </p:cNvPicPr>
          <p:nvPr userDrawn="1"/>
        </p:nvPicPr>
        <p:blipFill>
          <a:blip r:embed="rId8"/>
          <a:srcRect/>
          <a:stretch>
            <a:fillRect/>
          </a:stretch>
        </p:blipFill>
        <p:spPr bwMode="auto">
          <a:xfrm>
            <a:off x="2895781" y="4039274"/>
            <a:ext cx="1138946" cy="2211387"/>
          </a:xfrm>
          <a:prstGeom prst="rect">
            <a:avLst/>
          </a:prstGeom>
          <a:noFill/>
          <a:ln w="9525">
            <a:noFill/>
            <a:miter lim="800000"/>
            <a:headEnd/>
            <a:tailEnd/>
          </a:ln>
          <a:effectLst/>
        </p:spPr>
      </p:pic>
      <p:pic>
        <p:nvPicPr>
          <p:cNvPr id="27" name="Picture 10"/>
          <p:cNvPicPr>
            <a:picLocks noChangeAspect="1" noChangeArrowheads="1"/>
          </p:cNvPicPr>
          <p:nvPr userDrawn="1"/>
        </p:nvPicPr>
        <p:blipFill>
          <a:blip r:embed="rId9"/>
          <a:srcRect/>
          <a:stretch>
            <a:fillRect/>
          </a:stretch>
        </p:blipFill>
        <p:spPr bwMode="auto">
          <a:xfrm>
            <a:off x="4688243" y="4178974"/>
            <a:ext cx="664738" cy="2071687"/>
          </a:xfrm>
          <a:prstGeom prst="rect">
            <a:avLst/>
          </a:prstGeom>
          <a:noFill/>
          <a:ln w="9525">
            <a:noFill/>
            <a:miter lim="800000"/>
            <a:headEnd/>
            <a:tailEnd/>
          </a:ln>
          <a:effectLst/>
        </p:spPr>
      </p:pic>
      <p:pic>
        <p:nvPicPr>
          <p:cNvPr id="28" name="Picture 11"/>
          <p:cNvPicPr>
            <a:picLocks noChangeAspect="1" noChangeArrowheads="1"/>
          </p:cNvPicPr>
          <p:nvPr userDrawn="1"/>
        </p:nvPicPr>
        <p:blipFill>
          <a:blip r:embed="rId10"/>
          <a:srcRect/>
          <a:stretch>
            <a:fillRect/>
          </a:stretch>
        </p:blipFill>
        <p:spPr bwMode="auto">
          <a:xfrm>
            <a:off x="5699327" y="4178972"/>
            <a:ext cx="819280" cy="2071688"/>
          </a:xfrm>
          <a:prstGeom prst="rect">
            <a:avLst/>
          </a:prstGeom>
          <a:noFill/>
          <a:ln w="9525">
            <a:noFill/>
            <a:miter lim="800000"/>
            <a:headEnd/>
            <a:tailEnd/>
          </a:ln>
          <a:effectLst/>
        </p:spPr>
      </p:pic>
      <p:pic>
        <p:nvPicPr>
          <p:cNvPr id="29" name="Picture 12"/>
          <p:cNvPicPr>
            <a:picLocks noChangeAspect="1" noChangeArrowheads="1"/>
          </p:cNvPicPr>
          <p:nvPr userDrawn="1"/>
        </p:nvPicPr>
        <p:blipFill>
          <a:blip r:embed="rId11"/>
          <a:srcRect/>
          <a:stretch>
            <a:fillRect/>
          </a:stretch>
        </p:blipFill>
        <p:spPr bwMode="auto">
          <a:xfrm>
            <a:off x="7426777" y="4178972"/>
            <a:ext cx="1399336" cy="2071688"/>
          </a:xfrm>
          <a:prstGeom prst="rect">
            <a:avLst/>
          </a:prstGeom>
          <a:noFill/>
          <a:ln w="9525">
            <a:noFill/>
            <a:miter lim="800000"/>
            <a:headEnd/>
            <a:tailEnd/>
          </a:ln>
          <a:effectLst/>
        </p:spPr>
      </p:pic>
      <p:pic>
        <p:nvPicPr>
          <p:cNvPr id="30" name="Picture 13"/>
          <p:cNvPicPr>
            <a:picLocks noChangeAspect="1" noChangeArrowheads="1"/>
          </p:cNvPicPr>
          <p:nvPr userDrawn="1"/>
        </p:nvPicPr>
        <p:blipFill>
          <a:blip r:embed="rId12"/>
          <a:srcRect/>
          <a:stretch>
            <a:fillRect/>
          </a:stretch>
        </p:blipFill>
        <p:spPr bwMode="auto">
          <a:xfrm>
            <a:off x="9261079" y="4178974"/>
            <a:ext cx="1824854" cy="2071687"/>
          </a:xfrm>
          <a:prstGeom prst="rect">
            <a:avLst/>
          </a:prstGeom>
          <a:noFill/>
          <a:ln w="9525">
            <a:noFill/>
            <a:miter lim="800000"/>
            <a:headEnd/>
            <a:tailEnd/>
          </a:ln>
          <a:effectLst/>
        </p:spPr>
      </p:pic>
      <p:pic>
        <p:nvPicPr>
          <p:cNvPr id="31" name="Picture 14"/>
          <p:cNvPicPr>
            <a:picLocks noChangeAspect="1" noChangeArrowheads="1"/>
          </p:cNvPicPr>
          <p:nvPr userDrawn="1"/>
        </p:nvPicPr>
        <p:blipFill>
          <a:blip r:embed="rId13"/>
          <a:srcRect/>
          <a:stretch>
            <a:fillRect/>
          </a:stretch>
        </p:blipFill>
        <p:spPr bwMode="auto">
          <a:xfrm>
            <a:off x="11340617" y="4178974"/>
            <a:ext cx="620280" cy="2071687"/>
          </a:xfrm>
          <a:prstGeom prst="rect">
            <a:avLst/>
          </a:prstGeom>
          <a:noFill/>
          <a:ln w="9525">
            <a:noFill/>
            <a:miter lim="800000"/>
            <a:headEnd/>
            <a:tailEnd/>
          </a:ln>
          <a:effectLst/>
        </p:spPr>
      </p:pic>
      <p:pic>
        <p:nvPicPr>
          <p:cNvPr id="32" name="Picture 15"/>
          <p:cNvPicPr>
            <a:picLocks noChangeAspect="1" noChangeArrowheads="1"/>
          </p:cNvPicPr>
          <p:nvPr userDrawn="1"/>
        </p:nvPicPr>
        <p:blipFill>
          <a:blip r:embed="rId14"/>
          <a:srcRect/>
          <a:stretch>
            <a:fillRect/>
          </a:stretch>
        </p:blipFill>
        <p:spPr bwMode="auto">
          <a:xfrm>
            <a:off x="12272218" y="4178972"/>
            <a:ext cx="781174" cy="2071688"/>
          </a:xfrm>
          <a:prstGeom prst="rect">
            <a:avLst/>
          </a:prstGeom>
          <a:noFill/>
          <a:ln w="9525">
            <a:noFill/>
            <a:miter lim="800000"/>
            <a:headEnd/>
            <a:tailEnd/>
          </a:ln>
          <a:effectLst/>
        </p:spPr>
      </p:pic>
      <p:pic>
        <p:nvPicPr>
          <p:cNvPr id="33" name="Picture 8"/>
          <p:cNvPicPr>
            <a:picLocks noChangeAspect="1" noChangeArrowheads="1"/>
          </p:cNvPicPr>
          <p:nvPr userDrawn="1"/>
        </p:nvPicPr>
        <p:blipFill>
          <a:blip r:embed="rId15"/>
          <a:srcRect/>
          <a:stretch>
            <a:fillRect/>
          </a:stretch>
        </p:blipFill>
        <p:spPr bwMode="auto">
          <a:xfrm>
            <a:off x="3077793" y="1861344"/>
            <a:ext cx="2368924" cy="1635125"/>
          </a:xfrm>
          <a:prstGeom prst="rect">
            <a:avLst/>
          </a:prstGeom>
          <a:noFill/>
          <a:ln w="9525">
            <a:noFill/>
            <a:miter lim="800000"/>
            <a:headEnd/>
            <a:tailEnd/>
          </a:ln>
          <a:effectLst/>
        </p:spPr>
      </p:pic>
      <p:pic>
        <p:nvPicPr>
          <p:cNvPr id="34" name="Picture 2"/>
          <p:cNvPicPr>
            <a:picLocks noChangeAspect="1" noChangeArrowheads="1"/>
          </p:cNvPicPr>
          <p:nvPr userDrawn="1"/>
        </p:nvPicPr>
        <p:blipFill>
          <a:blip r:embed="rId16"/>
          <a:srcRect/>
          <a:stretch>
            <a:fillRect/>
          </a:stretch>
        </p:blipFill>
        <p:spPr bwMode="auto">
          <a:xfrm>
            <a:off x="771648" y="4684969"/>
            <a:ext cx="544068" cy="1560512"/>
          </a:xfrm>
          <a:prstGeom prst="rect">
            <a:avLst/>
          </a:prstGeom>
          <a:noFill/>
          <a:ln w="9525">
            <a:noFill/>
            <a:miter lim="800000"/>
            <a:headEnd/>
            <a:tailEnd/>
          </a:ln>
          <a:effectLst/>
        </p:spPr>
      </p:pic>
      <p:pic>
        <p:nvPicPr>
          <p:cNvPr id="35" name="Picture 3"/>
          <p:cNvPicPr>
            <a:picLocks noChangeAspect="1" noChangeArrowheads="1"/>
          </p:cNvPicPr>
          <p:nvPr userDrawn="1"/>
        </p:nvPicPr>
        <p:blipFill>
          <a:blip r:embed="rId17"/>
          <a:srcRect/>
          <a:stretch>
            <a:fillRect/>
          </a:stretch>
        </p:blipFill>
        <p:spPr bwMode="auto">
          <a:xfrm>
            <a:off x="1707891" y="4685344"/>
            <a:ext cx="1001340" cy="1560513"/>
          </a:xfrm>
          <a:prstGeom prst="rect">
            <a:avLst/>
          </a:prstGeom>
          <a:noFill/>
          <a:ln w="9525">
            <a:noFill/>
            <a:miter lim="800000"/>
            <a:headEnd/>
            <a:tailEnd/>
          </a:ln>
          <a:effectLst/>
        </p:spPr>
      </p:pic>
    </p:spTree>
    <p:extLst>
      <p:ext uri="{BB962C8B-B14F-4D97-AF65-F5344CB8AC3E}">
        <p14:creationId xmlns:p14="http://schemas.microsoft.com/office/powerpoint/2010/main" val="3601557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CM Characters 4">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pic>
        <p:nvPicPr>
          <p:cNvPr id="24" name="Picture 4"/>
          <p:cNvPicPr>
            <a:picLocks noChangeAspect="1" noChangeArrowheads="1"/>
          </p:cNvPicPr>
          <p:nvPr userDrawn="1"/>
        </p:nvPicPr>
        <p:blipFill>
          <a:blip r:embed="rId2"/>
          <a:srcRect/>
          <a:stretch>
            <a:fillRect/>
          </a:stretch>
        </p:blipFill>
        <p:spPr bwMode="auto">
          <a:xfrm>
            <a:off x="5317383" y="1852623"/>
            <a:ext cx="1378166" cy="1665288"/>
          </a:xfrm>
          <a:prstGeom prst="rect">
            <a:avLst/>
          </a:prstGeom>
          <a:noFill/>
          <a:ln w="9525">
            <a:noFill/>
            <a:miter lim="800000"/>
            <a:headEnd/>
            <a:tailEnd/>
          </a:ln>
          <a:effectLst/>
        </p:spPr>
      </p:pic>
      <p:pic>
        <p:nvPicPr>
          <p:cNvPr id="25" name="Picture 5"/>
          <p:cNvPicPr>
            <a:picLocks noChangeAspect="1" noChangeArrowheads="1"/>
          </p:cNvPicPr>
          <p:nvPr userDrawn="1"/>
        </p:nvPicPr>
        <p:blipFill>
          <a:blip r:embed="rId3"/>
          <a:srcRect/>
          <a:stretch>
            <a:fillRect/>
          </a:stretch>
        </p:blipFill>
        <p:spPr bwMode="auto">
          <a:xfrm>
            <a:off x="6509949" y="2181237"/>
            <a:ext cx="1105074" cy="1336675"/>
          </a:xfrm>
          <a:prstGeom prst="rect">
            <a:avLst/>
          </a:prstGeom>
          <a:noFill/>
          <a:ln w="9525">
            <a:noFill/>
            <a:miter lim="800000"/>
            <a:headEnd/>
            <a:tailEnd/>
          </a:ln>
          <a:effectLst/>
        </p:spPr>
      </p:pic>
      <p:pic>
        <p:nvPicPr>
          <p:cNvPr id="26" name="Picture 6"/>
          <p:cNvPicPr>
            <a:picLocks noChangeAspect="1" noChangeArrowheads="1"/>
          </p:cNvPicPr>
          <p:nvPr userDrawn="1"/>
        </p:nvPicPr>
        <p:blipFill>
          <a:blip r:embed="rId4"/>
          <a:srcRect/>
          <a:stretch>
            <a:fillRect/>
          </a:stretch>
        </p:blipFill>
        <p:spPr bwMode="auto">
          <a:xfrm>
            <a:off x="7179820" y="1852623"/>
            <a:ext cx="1295604" cy="1665288"/>
          </a:xfrm>
          <a:prstGeom prst="rect">
            <a:avLst/>
          </a:prstGeom>
          <a:noFill/>
          <a:ln w="9525">
            <a:noFill/>
            <a:miter lim="800000"/>
            <a:headEnd/>
            <a:tailEnd/>
          </a:ln>
          <a:effectLst/>
        </p:spPr>
      </p:pic>
      <p:pic>
        <p:nvPicPr>
          <p:cNvPr id="27" name="Picture 7"/>
          <p:cNvPicPr>
            <a:picLocks noChangeAspect="1" noChangeArrowheads="1"/>
          </p:cNvPicPr>
          <p:nvPr userDrawn="1"/>
        </p:nvPicPr>
        <p:blipFill>
          <a:blip r:embed="rId5"/>
          <a:srcRect/>
          <a:stretch>
            <a:fillRect/>
          </a:stretch>
        </p:blipFill>
        <p:spPr bwMode="auto">
          <a:xfrm>
            <a:off x="10026576" y="2387611"/>
            <a:ext cx="1105074" cy="1130300"/>
          </a:xfrm>
          <a:prstGeom prst="rect">
            <a:avLst/>
          </a:prstGeom>
          <a:noFill/>
          <a:ln w="9525">
            <a:noFill/>
            <a:miter lim="800000"/>
            <a:headEnd/>
            <a:tailEnd/>
          </a:ln>
          <a:effectLst/>
        </p:spPr>
      </p:pic>
      <p:pic>
        <p:nvPicPr>
          <p:cNvPr id="28" name="Picture 8"/>
          <p:cNvPicPr>
            <a:picLocks noChangeAspect="1" noChangeArrowheads="1"/>
          </p:cNvPicPr>
          <p:nvPr userDrawn="1"/>
        </p:nvPicPr>
        <p:blipFill>
          <a:blip r:embed="rId6"/>
          <a:srcRect/>
          <a:stretch>
            <a:fillRect/>
          </a:stretch>
        </p:blipFill>
        <p:spPr bwMode="auto">
          <a:xfrm>
            <a:off x="10964816" y="1858973"/>
            <a:ext cx="1382400" cy="1658938"/>
          </a:xfrm>
          <a:prstGeom prst="rect">
            <a:avLst/>
          </a:prstGeom>
          <a:noFill/>
          <a:ln w="9525">
            <a:noFill/>
            <a:miter lim="800000"/>
            <a:headEnd/>
            <a:tailEnd/>
          </a:ln>
          <a:effectLst/>
        </p:spPr>
      </p:pic>
      <p:pic>
        <p:nvPicPr>
          <p:cNvPr id="29" name="Picture 9"/>
          <p:cNvPicPr>
            <a:picLocks noChangeAspect="1" noChangeArrowheads="1"/>
          </p:cNvPicPr>
          <p:nvPr userDrawn="1"/>
        </p:nvPicPr>
        <p:blipFill>
          <a:blip r:embed="rId7"/>
          <a:srcRect/>
          <a:stretch>
            <a:fillRect/>
          </a:stretch>
        </p:blipFill>
        <p:spPr bwMode="auto">
          <a:xfrm>
            <a:off x="9153012" y="1847862"/>
            <a:ext cx="1181286" cy="1670050"/>
          </a:xfrm>
          <a:prstGeom prst="rect">
            <a:avLst/>
          </a:prstGeom>
          <a:noFill/>
          <a:ln w="9525">
            <a:noFill/>
            <a:miter lim="800000"/>
            <a:headEnd/>
            <a:tailEnd/>
          </a:ln>
          <a:effectLst/>
        </p:spPr>
      </p:pic>
      <p:pic>
        <p:nvPicPr>
          <p:cNvPr id="30" name="Picture 10"/>
          <p:cNvPicPr>
            <a:picLocks noChangeAspect="1" noChangeArrowheads="1"/>
          </p:cNvPicPr>
          <p:nvPr userDrawn="1"/>
        </p:nvPicPr>
        <p:blipFill>
          <a:blip r:embed="rId8"/>
          <a:srcRect/>
          <a:stretch>
            <a:fillRect/>
          </a:stretch>
        </p:blipFill>
        <p:spPr bwMode="auto">
          <a:xfrm>
            <a:off x="1012710" y="4043689"/>
            <a:ext cx="965352" cy="2211388"/>
          </a:xfrm>
          <a:prstGeom prst="rect">
            <a:avLst/>
          </a:prstGeom>
          <a:noFill/>
          <a:ln w="9525">
            <a:noFill/>
            <a:miter lim="800000"/>
            <a:headEnd/>
            <a:tailEnd/>
          </a:ln>
          <a:effectLst/>
        </p:spPr>
      </p:pic>
      <p:pic>
        <p:nvPicPr>
          <p:cNvPr id="31" name="Picture 11"/>
          <p:cNvPicPr>
            <a:picLocks noChangeAspect="1" noChangeArrowheads="1"/>
          </p:cNvPicPr>
          <p:nvPr userDrawn="1"/>
        </p:nvPicPr>
        <p:blipFill>
          <a:blip r:embed="rId9"/>
          <a:srcRect/>
          <a:stretch>
            <a:fillRect/>
          </a:stretch>
        </p:blipFill>
        <p:spPr bwMode="auto">
          <a:xfrm>
            <a:off x="3245885" y="4147725"/>
            <a:ext cx="836214" cy="2071688"/>
          </a:xfrm>
          <a:prstGeom prst="rect">
            <a:avLst/>
          </a:prstGeom>
          <a:noFill/>
          <a:ln w="9525">
            <a:noFill/>
            <a:miter lim="800000"/>
            <a:headEnd/>
            <a:tailEnd/>
          </a:ln>
          <a:effectLst/>
        </p:spPr>
      </p:pic>
      <p:pic>
        <p:nvPicPr>
          <p:cNvPr id="32" name="Picture 12"/>
          <p:cNvPicPr>
            <a:picLocks noChangeAspect="1" noChangeArrowheads="1"/>
          </p:cNvPicPr>
          <p:nvPr userDrawn="1"/>
        </p:nvPicPr>
        <p:blipFill>
          <a:blip r:embed="rId10"/>
          <a:srcRect/>
          <a:stretch>
            <a:fillRect/>
          </a:stretch>
        </p:blipFill>
        <p:spPr bwMode="auto">
          <a:xfrm>
            <a:off x="5232007" y="4236623"/>
            <a:ext cx="927246" cy="1982789"/>
          </a:xfrm>
          <a:prstGeom prst="rect">
            <a:avLst/>
          </a:prstGeom>
          <a:noFill/>
          <a:ln w="9525">
            <a:noFill/>
            <a:miter lim="800000"/>
            <a:headEnd/>
            <a:tailEnd/>
          </a:ln>
          <a:effectLst/>
        </p:spPr>
      </p:pic>
      <p:pic>
        <p:nvPicPr>
          <p:cNvPr id="33" name="Picture 13"/>
          <p:cNvPicPr>
            <a:picLocks noChangeAspect="1" noChangeArrowheads="1"/>
          </p:cNvPicPr>
          <p:nvPr userDrawn="1"/>
        </p:nvPicPr>
        <p:blipFill>
          <a:blip r:embed="rId11"/>
          <a:srcRect/>
          <a:stretch>
            <a:fillRect/>
          </a:stretch>
        </p:blipFill>
        <p:spPr bwMode="auto">
          <a:xfrm>
            <a:off x="6885820" y="4235038"/>
            <a:ext cx="887024" cy="1984375"/>
          </a:xfrm>
          <a:prstGeom prst="rect">
            <a:avLst/>
          </a:prstGeom>
          <a:noFill/>
          <a:ln w="9525">
            <a:noFill/>
            <a:miter lim="800000"/>
            <a:headEnd/>
            <a:tailEnd/>
          </a:ln>
          <a:effectLst/>
        </p:spPr>
      </p:pic>
      <p:pic>
        <p:nvPicPr>
          <p:cNvPr id="34" name="Picture 14"/>
          <p:cNvPicPr>
            <a:picLocks noChangeAspect="1" noChangeArrowheads="1"/>
          </p:cNvPicPr>
          <p:nvPr userDrawn="1"/>
        </p:nvPicPr>
        <p:blipFill>
          <a:blip r:embed="rId12"/>
          <a:srcRect/>
          <a:stretch>
            <a:fillRect/>
          </a:stretch>
        </p:blipFill>
        <p:spPr bwMode="auto">
          <a:xfrm>
            <a:off x="5943724" y="4482687"/>
            <a:ext cx="1105074" cy="1736726"/>
          </a:xfrm>
          <a:prstGeom prst="rect">
            <a:avLst/>
          </a:prstGeom>
          <a:noFill/>
          <a:ln w="9525">
            <a:noFill/>
            <a:miter lim="800000"/>
            <a:headEnd/>
            <a:tailEnd/>
          </a:ln>
          <a:effectLst/>
        </p:spPr>
      </p:pic>
      <p:pic>
        <p:nvPicPr>
          <p:cNvPr id="35" name="Picture 15"/>
          <p:cNvPicPr>
            <a:picLocks noChangeAspect="1" noChangeArrowheads="1"/>
          </p:cNvPicPr>
          <p:nvPr userDrawn="1"/>
        </p:nvPicPr>
        <p:blipFill>
          <a:blip r:embed="rId13"/>
          <a:srcRect/>
          <a:stretch>
            <a:fillRect/>
          </a:stretch>
        </p:blipFill>
        <p:spPr bwMode="auto">
          <a:xfrm>
            <a:off x="8646697" y="4550951"/>
            <a:ext cx="1356998" cy="1668462"/>
          </a:xfrm>
          <a:prstGeom prst="rect">
            <a:avLst/>
          </a:prstGeom>
          <a:noFill/>
          <a:ln w="9525">
            <a:noFill/>
            <a:miter lim="800000"/>
            <a:headEnd/>
            <a:tailEnd/>
          </a:ln>
          <a:effectLst/>
        </p:spPr>
      </p:pic>
      <p:pic>
        <p:nvPicPr>
          <p:cNvPr id="36" name="Picture 16"/>
          <p:cNvPicPr>
            <a:picLocks noChangeAspect="1" noChangeArrowheads="1"/>
          </p:cNvPicPr>
          <p:nvPr userDrawn="1"/>
        </p:nvPicPr>
        <p:blipFill>
          <a:blip r:embed="rId14"/>
          <a:srcRect/>
          <a:stretch>
            <a:fillRect/>
          </a:stretch>
        </p:blipFill>
        <p:spPr bwMode="auto">
          <a:xfrm>
            <a:off x="9958050" y="4898612"/>
            <a:ext cx="1105074" cy="1320800"/>
          </a:xfrm>
          <a:prstGeom prst="rect">
            <a:avLst/>
          </a:prstGeom>
          <a:noFill/>
          <a:ln w="9525">
            <a:noFill/>
            <a:miter lim="800000"/>
            <a:headEnd/>
            <a:tailEnd/>
          </a:ln>
          <a:effectLst/>
        </p:spPr>
      </p:pic>
      <p:pic>
        <p:nvPicPr>
          <p:cNvPr id="37" name="Picture 17"/>
          <p:cNvPicPr>
            <a:picLocks noChangeAspect="1" noChangeArrowheads="1"/>
          </p:cNvPicPr>
          <p:nvPr userDrawn="1"/>
        </p:nvPicPr>
        <p:blipFill>
          <a:blip r:embed="rId15"/>
          <a:srcRect/>
          <a:stretch>
            <a:fillRect/>
          </a:stretch>
        </p:blipFill>
        <p:spPr bwMode="auto">
          <a:xfrm>
            <a:off x="10910294" y="4541425"/>
            <a:ext cx="1287136" cy="1677988"/>
          </a:xfrm>
          <a:prstGeom prst="rect">
            <a:avLst/>
          </a:prstGeom>
          <a:noFill/>
          <a:ln w="9525">
            <a:noFill/>
            <a:miter lim="800000"/>
            <a:headEnd/>
            <a:tailEnd/>
          </a:ln>
          <a:effectLst/>
        </p:spPr>
      </p:pic>
      <p:pic>
        <p:nvPicPr>
          <p:cNvPr id="38" name="Picture 18"/>
          <p:cNvPicPr>
            <a:picLocks noChangeAspect="1" noChangeArrowheads="1"/>
          </p:cNvPicPr>
          <p:nvPr userDrawn="1"/>
        </p:nvPicPr>
        <p:blipFill>
          <a:blip r:embed="rId16"/>
          <a:srcRect/>
          <a:stretch>
            <a:fillRect/>
          </a:stretch>
        </p:blipFill>
        <p:spPr bwMode="auto">
          <a:xfrm>
            <a:off x="2346564" y="4652550"/>
            <a:ext cx="1105074" cy="1566863"/>
          </a:xfrm>
          <a:prstGeom prst="rect">
            <a:avLst/>
          </a:prstGeom>
          <a:noFill/>
          <a:ln w="9525">
            <a:noFill/>
            <a:miter lim="800000"/>
            <a:headEnd/>
            <a:tailEnd/>
          </a:ln>
          <a:effectLst/>
        </p:spPr>
      </p:pic>
      <p:pic>
        <p:nvPicPr>
          <p:cNvPr id="39" name="Picture 2"/>
          <p:cNvPicPr>
            <a:picLocks noChangeAspect="1" noChangeArrowheads="1"/>
          </p:cNvPicPr>
          <p:nvPr userDrawn="1"/>
        </p:nvPicPr>
        <p:blipFill>
          <a:blip r:embed="rId17"/>
          <a:srcRect/>
          <a:stretch>
            <a:fillRect/>
          </a:stretch>
        </p:blipFill>
        <p:spPr bwMode="auto">
          <a:xfrm>
            <a:off x="575275" y="1445299"/>
            <a:ext cx="3073884" cy="2071687"/>
          </a:xfrm>
          <a:prstGeom prst="rect">
            <a:avLst/>
          </a:prstGeom>
          <a:noFill/>
          <a:ln w="9525">
            <a:noFill/>
            <a:miter lim="800000"/>
            <a:headEnd/>
            <a:tailEnd/>
          </a:ln>
          <a:effectLst/>
        </p:spPr>
      </p:pic>
      <p:pic>
        <p:nvPicPr>
          <p:cNvPr id="40" name="Picture 3"/>
          <p:cNvPicPr>
            <a:picLocks noChangeAspect="1" noChangeArrowheads="1"/>
          </p:cNvPicPr>
          <p:nvPr userDrawn="1"/>
        </p:nvPicPr>
        <p:blipFill>
          <a:blip r:embed="rId18"/>
          <a:srcRect/>
          <a:stretch>
            <a:fillRect/>
          </a:stretch>
        </p:blipFill>
        <p:spPr bwMode="auto">
          <a:xfrm>
            <a:off x="3554560" y="1800899"/>
            <a:ext cx="1242678" cy="1716087"/>
          </a:xfrm>
          <a:prstGeom prst="rect">
            <a:avLst/>
          </a:prstGeom>
          <a:noFill/>
          <a:ln w="9525">
            <a:noFill/>
            <a:miter lim="800000"/>
            <a:headEnd/>
            <a:tailEnd/>
          </a:ln>
          <a:effectLst/>
        </p:spPr>
      </p:pic>
    </p:spTree>
    <p:extLst>
      <p:ext uri="{BB962C8B-B14F-4D97-AF65-F5344CB8AC3E}">
        <p14:creationId xmlns:p14="http://schemas.microsoft.com/office/powerpoint/2010/main" val="3357645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CM Characters 5">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pic>
        <p:nvPicPr>
          <p:cNvPr id="13" name="Picture 2"/>
          <p:cNvPicPr>
            <a:picLocks noChangeAspect="1" noChangeArrowheads="1"/>
          </p:cNvPicPr>
          <p:nvPr userDrawn="1"/>
        </p:nvPicPr>
        <p:blipFill>
          <a:blip r:embed="rId2"/>
          <a:srcRect/>
          <a:stretch>
            <a:fillRect/>
          </a:stretch>
        </p:blipFill>
        <p:spPr bwMode="auto">
          <a:xfrm>
            <a:off x="1028340" y="1521494"/>
            <a:ext cx="3001906" cy="1982789"/>
          </a:xfrm>
          <a:prstGeom prst="rect">
            <a:avLst/>
          </a:prstGeom>
          <a:noFill/>
          <a:ln w="9525">
            <a:noFill/>
            <a:miter lim="800000"/>
            <a:headEnd/>
            <a:tailEnd/>
          </a:ln>
          <a:effectLst/>
        </p:spPr>
      </p:pic>
      <p:pic>
        <p:nvPicPr>
          <p:cNvPr id="14" name="Picture 3"/>
          <p:cNvPicPr>
            <a:picLocks noChangeAspect="1" noChangeArrowheads="1"/>
          </p:cNvPicPr>
          <p:nvPr userDrawn="1"/>
        </p:nvPicPr>
        <p:blipFill>
          <a:blip r:embed="rId3"/>
          <a:srcRect/>
          <a:stretch>
            <a:fillRect/>
          </a:stretch>
        </p:blipFill>
        <p:spPr bwMode="auto">
          <a:xfrm>
            <a:off x="5087293" y="1391320"/>
            <a:ext cx="3001906" cy="2112963"/>
          </a:xfrm>
          <a:prstGeom prst="rect">
            <a:avLst/>
          </a:prstGeom>
          <a:noFill/>
          <a:ln w="9525">
            <a:noFill/>
            <a:miter lim="800000"/>
            <a:headEnd/>
            <a:tailEnd/>
          </a:ln>
          <a:effectLst/>
        </p:spPr>
      </p:pic>
      <p:pic>
        <p:nvPicPr>
          <p:cNvPr id="15" name="Picture 4"/>
          <p:cNvPicPr>
            <a:picLocks noChangeAspect="1" noChangeArrowheads="1"/>
          </p:cNvPicPr>
          <p:nvPr userDrawn="1"/>
        </p:nvPicPr>
        <p:blipFill>
          <a:blip r:embed="rId4"/>
          <a:srcRect/>
          <a:stretch>
            <a:fillRect/>
          </a:stretch>
        </p:blipFill>
        <p:spPr bwMode="auto">
          <a:xfrm>
            <a:off x="9193378" y="1329408"/>
            <a:ext cx="3001906" cy="2174875"/>
          </a:xfrm>
          <a:prstGeom prst="rect">
            <a:avLst/>
          </a:prstGeom>
          <a:noFill/>
          <a:ln w="9525">
            <a:noFill/>
            <a:miter lim="800000"/>
            <a:headEnd/>
            <a:tailEnd/>
          </a:ln>
          <a:effectLst/>
        </p:spPr>
      </p:pic>
      <p:pic>
        <p:nvPicPr>
          <p:cNvPr id="16" name="Picture 5"/>
          <p:cNvPicPr>
            <a:picLocks noChangeAspect="1" noChangeArrowheads="1"/>
          </p:cNvPicPr>
          <p:nvPr userDrawn="1"/>
        </p:nvPicPr>
        <p:blipFill>
          <a:blip r:embed="rId5"/>
          <a:srcRect/>
          <a:stretch>
            <a:fillRect/>
          </a:stretch>
        </p:blipFill>
        <p:spPr bwMode="auto">
          <a:xfrm>
            <a:off x="1028340" y="4055977"/>
            <a:ext cx="3001906" cy="2098675"/>
          </a:xfrm>
          <a:prstGeom prst="rect">
            <a:avLst/>
          </a:prstGeom>
          <a:noFill/>
          <a:ln w="9525">
            <a:noFill/>
            <a:miter lim="800000"/>
            <a:headEnd/>
            <a:tailEnd/>
          </a:ln>
          <a:effectLst/>
        </p:spPr>
      </p:pic>
      <p:pic>
        <p:nvPicPr>
          <p:cNvPr id="17" name="Picture 6"/>
          <p:cNvPicPr>
            <a:picLocks noChangeAspect="1" noChangeArrowheads="1"/>
          </p:cNvPicPr>
          <p:nvPr userDrawn="1"/>
        </p:nvPicPr>
        <p:blipFill>
          <a:blip r:embed="rId6"/>
          <a:srcRect/>
          <a:stretch>
            <a:fillRect/>
          </a:stretch>
        </p:blipFill>
        <p:spPr bwMode="auto">
          <a:xfrm>
            <a:off x="5087293" y="4055977"/>
            <a:ext cx="3001906" cy="2098675"/>
          </a:xfrm>
          <a:prstGeom prst="rect">
            <a:avLst/>
          </a:prstGeom>
          <a:noFill/>
          <a:ln w="9525">
            <a:noFill/>
            <a:miter lim="800000"/>
            <a:headEnd/>
            <a:tailEnd/>
          </a:ln>
          <a:effectLst/>
        </p:spPr>
      </p:pic>
      <p:pic>
        <p:nvPicPr>
          <p:cNvPr id="18" name="Picture 7"/>
          <p:cNvPicPr>
            <a:picLocks noChangeAspect="1" noChangeArrowheads="1"/>
          </p:cNvPicPr>
          <p:nvPr userDrawn="1"/>
        </p:nvPicPr>
        <p:blipFill>
          <a:blip r:embed="rId7"/>
          <a:srcRect/>
          <a:stretch>
            <a:fillRect/>
          </a:stretch>
        </p:blipFill>
        <p:spPr bwMode="auto">
          <a:xfrm>
            <a:off x="9193378" y="4055977"/>
            <a:ext cx="3001906" cy="2098675"/>
          </a:xfrm>
          <a:prstGeom prst="rect">
            <a:avLst/>
          </a:prstGeom>
          <a:noFill/>
          <a:ln w="9525">
            <a:noFill/>
            <a:miter lim="800000"/>
            <a:headEnd/>
            <a:tailEnd/>
          </a:ln>
          <a:effectLst/>
        </p:spPr>
      </p:pic>
    </p:spTree>
    <p:extLst>
      <p:ext uri="{BB962C8B-B14F-4D97-AF65-F5344CB8AC3E}">
        <p14:creationId xmlns:p14="http://schemas.microsoft.com/office/powerpoint/2010/main" val="284234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Front Pag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01904" name="think-cell Slide" r:id="rId4" imgW="6350000" imgH="6350000" progId="">
                  <p:embed/>
                </p:oleObj>
              </mc:Choice>
              <mc:Fallback>
                <p:oleObj name="think-cell Slide" r:id="rId4" imgW="6350000" imgH="635000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bwMode="gray">
          <a:xfrm>
            <a:off x="326003" y="5102473"/>
            <a:ext cx="12331696" cy="709383"/>
          </a:xfrm>
        </p:spPr>
        <p:txBody>
          <a:bodyPr wrap="square" anchor="t" anchorCtr="0"/>
          <a:lstStyle>
            <a:lvl1pPr algn="l">
              <a:lnSpc>
                <a:spcPts val="6000"/>
              </a:lnSpc>
              <a:defRPr sz="6600" baseline="0"/>
            </a:lvl1pPr>
          </a:lstStyle>
          <a:p>
            <a:r>
              <a:rPr lang="en-US" dirty="0"/>
              <a:t>Cover title</a:t>
            </a:r>
          </a:p>
        </p:txBody>
      </p:sp>
      <p:sp>
        <p:nvSpPr>
          <p:cNvPr id="3" name="Subtitle 2"/>
          <p:cNvSpPr>
            <a:spLocks noGrp="1"/>
          </p:cNvSpPr>
          <p:nvPr>
            <p:ph type="subTitle" idx="1" hasCustomPrompt="1"/>
          </p:nvPr>
        </p:nvSpPr>
        <p:spPr bwMode="gray">
          <a:xfrm>
            <a:off x="362650" y="5789963"/>
            <a:ext cx="12305337" cy="455176"/>
          </a:xfrm>
        </p:spPr>
        <p:txBody>
          <a:bodyPr/>
          <a:lstStyle>
            <a:lvl1pPr marL="0" indent="0" algn="l">
              <a:lnSpc>
                <a:spcPts val="1501"/>
              </a:lnSpc>
              <a:buNone/>
              <a:defRPr sz="1400" b="1" i="0">
                <a:solidFill>
                  <a:schemeClr val="bg1"/>
                </a:solidFill>
              </a:defRPr>
            </a:lvl1pPr>
            <a:lvl2pPr marL="480907" indent="0" algn="ctr">
              <a:buNone/>
              <a:defRPr sz="2100"/>
            </a:lvl2pPr>
            <a:lvl3pPr marL="961813" indent="0" algn="ctr">
              <a:buNone/>
              <a:defRPr sz="1900"/>
            </a:lvl3pPr>
            <a:lvl4pPr marL="1442722" indent="0" algn="ctr">
              <a:buNone/>
              <a:defRPr sz="1700"/>
            </a:lvl4pPr>
            <a:lvl5pPr marL="1923629" indent="0" algn="ctr">
              <a:buNone/>
              <a:defRPr sz="1700"/>
            </a:lvl5pPr>
            <a:lvl6pPr marL="2404535" indent="0" algn="ctr">
              <a:buNone/>
              <a:defRPr sz="1700"/>
            </a:lvl6pPr>
            <a:lvl7pPr marL="2885441" indent="0" algn="ctr">
              <a:buNone/>
              <a:defRPr sz="1700"/>
            </a:lvl7pPr>
            <a:lvl8pPr marL="3366348" indent="0" algn="ctr">
              <a:buNone/>
              <a:defRPr sz="1700"/>
            </a:lvl8pPr>
            <a:lvl9pPr marL="3847253" indent="0" algn="ctr">
              <a:buNone/>
              <a:defRPr sz="1700"/>
            </a:lvl9pPr>
          </a:lstStyle>
          <a:p>
            <a:r>
              <a:rPr lang="en-US" dirty="0"/>
              <a:t>01 Date 0000 – Client</a:t>
            </a:r>
          </a:p>
          <a:p>
            <a:r>
              <a:rPr lang="en-US" dirty="0"/>
              <a:t>Subtitle</a:t>
            </a:r>
          </a:p>
        </p:txBody>
      </p:sp>
      <p:sp>
        <p:nvSpPr>
          <p:cNvPr id="8" name="Picture Placeholder 10"/>
          <p:cNvSpPr>
            <a:spLocks noGrp="1"/>
          </p:cNvSpPr>
          <p:nvPr>
            <p:ph type="pic" sz="quarter" idx="16"/>
          </p:nvPr>
        </p:nvSpPr>
        <p:spPr bwMode="gray">
          <a:xfrm>
            <a:off x="1" y="7"/>
            <a:ext cx="13442950" cy="4560250"/>
          </a:xfrm>
          <a:solidFill>
            <a:schemeClr val="accent5"/>
          </a:solidFill>
          <a:ln>
            <a:noFill/>
          </a:ln>
        </p:spPr>
        <p:txBody>
          <a:bodyPr tIns="1440000" anchor="t"/>
          <a:lstStyle>
            <a:lvl1pPr algn="ctr">
              <a:buNone/>
              <a:defRPr>
                <a:solidFill>
                  <a:srgbClr val="000000"/>
                </a:solidFill>
              </a:defRPr>
            </a:lvl1pPr>
          </a:lstStyle>
          <a:p>
            <a:r>
              <a:rPr lang="en-US"/>
              <a:t>Click icon to add picture</a:t>
            </a:r>
            <a:endParaRPr lang="en-US" dirty="0"/>
          </a:p>
        </p:txBody>
      </p:sp>
    </p:spTree>
    <p:extLst>
      <p:ext uri="{BB962C8B-B14F-4D97-AF65-F5344CB8AC3E}">
        <p14:creationId xmlns:p14="http://schemas.microsoft.com/office/powerpoint/2010/main" val="1006313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1" name="Object 7" hidden="1"/>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103002" name="think-cell Slide" r:id="rId5" imgW="38100" imgH="38100" progId="">
                  <p:embed/>
                </p:oleObj>
              </mc:Choice>
              <mc:Fallback>
                <p:oleObj name="think-cell Slide" r:id="rId5" imgW="38100" imgH="38100" progId="">
                  <p:embed/>
                  <p:pic>
                    <p:nvPicPr>
                      <p:cNvPr id="11"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cxnSp>
        <p:nvCxnSpPr>
          <p:cNvPr id="12" name="Straight Connector 11"/>
          <p:cNvCxnSpPr/>
          <p:nvPr/>
        </p:nvCxnSpPr>
        <p:spPr bwMode="gray">
          <a:xfrm>
            <a:off x="1" y="6791325"/>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graphicFrame>
        <p:nvGraphicFramePr>
          <p:cNvPr id="14" name="Object 8" hidden="1"/>
          <p:cNvGraphicFramePr>
            <a:graphicFrameLocks noChangeAspect="1"/>
          </p:cNvGraphicFramePr>
          <p:nvPr>
            <p:custDataLst>
              <p:tags r:id="rId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103003" name="think-cell Slide" r:id="rId7" imgW="38100" imgH="38100" progId="">
                  <p:embed/>
                </p:oleObj>
              </mc:Choice>
              <mc:Fallback>
                <p:oleObj name="think-cell Slide" r:id="rId7" imgW="38100" imgH="38100" progId="">
                  <p:embed/>
                  <p:pic>
                    <p:nvPicPr>
                      <p:cNvPr id="14"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bwMode="gray"/>
        <p:txBody>
          <a:bodyPr/>
          <a:lstStyle/>
          <a:p>
            <a:r>
              <a:rPr lang="en-GB"/>
              <a:t>Click to edit Master title style</a:t>
            </a:r>
            <a:endParaRPr lang="en-US" dirty="0"/>
          </a:p>
        </p:txBody>
      </p:sp>
      <p:sp>
        <p:nvSpPr>
          <p:cNvPr id="9" name="Text Placeholder 13"/>
          <p:cNvSpPr>
            <a:spLocks noGrp="1"/>
          </p:cNvSpPr>
          <p:nvPr>
            <p:ph type="body" sz="quarter" idx="14"/>
          </p:nvPr>
        </p:nvSpPr>
        <p:spPr bwMode="gray">
          <a:xfrm>
            <a:off x="367441" y="806395"/>
            <a:ext cx="12423740" cy="436608"/>
          </a:xfrm>
        </p:spPr>
        <p:txBody>
          <a:bodyPr/>
          <a:lstStyle>
            <a:lvl1pPr>
              <a:lnSpc>
                <a:spcPts val="1501"/>
              </a:lnSpc>
              <a:buNone/>
              <a:defRPr sz="1400" b="1" baseline="0">
                <a:solidFill>
                  <a:schemeClr val="accent6"/>
                </a:solidFill>
              </a:defRPr>
            </a:lvl1pPr>
          </a:lstStyle>
          <a:p>
            <a:pPr lvl="0"/>
            <a:r>
              <a:rPr lang="en-GB"/>
              <a:t>Click to edit Master text styles</a:t>
            </a:r>
          </a:p>
        </p:txBody>
      </p:sp>
      <p:sp>
        <p:nvSpPr>
          <p:cNvPr id="10" name="Text Placeholder 13"/>
          <p:cNvSpPr>
            <a:spLocks noGrp="1"/>
          </p:cNvSpPr>
          <p:nvPr>
            <p:ph type="body" sz="quarter" idx="15"/>
          </p:nvPr>
        </p:nvSpPr>
        <p:spPr bwMode="gray">
          <a:xfrm>
            <a:off x="7079329" y="7048426"/>
            <a:ext cx="5977218" cy="308472"/>
          </a:xfrm>
        </p:spPr>
        <p:txBody>
          <a:bodyPr anchor="b"/>
          <a:lstStyle>
            <a:lvl1pPr algn="r">
              <a:lnSpc>
                <a:spcPts val="842"/>
              </a:lnSpc>
              <a:buNone/>
              <a:defRPr sz="700" b="0" baseline="0">
                <a:solidFill>
                  <a:srgbClr val="000000"/>
                </a:solidFill>
              </a:defRPr>
            </a:lvl1pPr>
          </a:lstStyle>
          <a:p>
            <a:pPr lvl="0"/>
            <a:r>
              <a:rPr lang="en-GB" dirty="0"/>
              <a:t>Click to edit Master text styles</a:t>
            </a:r>
          </a:p>
        </p:txBody>
      </p:sp>
      <p:sp>
        <p:nvSpPr>
          <p:cNvPr id="7" name="Text Placeholder 13"/>
          <p:cNvSpPr>
            <a:spLocks noGrp="1"/>
          </p:cNvSpPr>
          <p:nvPr>
            <p:ph type="body" sz="quarter" idx="16"/>
          </p:nvPr>
        </p:nvSpPr>
        <p:spPr bwMode="gray">
          <a:xfrm>
            <a:off x="371670" y="1371822"/>
            <a:ext cx="8259575" cy="214058"/>
          </a:xfrm>
        </p:spPr>
        <p:txBody>
          <a:bodyPr/>
          <a:lstStyle>
            <a:lvl1pPr>
              <a:lnSpc>
                <a:spcPts val="1501"/>
              </a:lnSpc>
              <a:buNone/>
              <a:defRPr sz="1400" b="1" baseline="0">
                <a:solidFill>
                  <a:schemeClr val="bg1"/>
                </a:solidFill>
              </a:defRPr>
            </a:lvl1pPr>
          </a:lstStyle>
          <a:p>
            <a:pPr lvl="0"/>
            <a:r>
              <a:rPr lang="en-GB"/>
              <a:t>Click to edit Master text styles</a:t>
            </a:r>
          </a:p>
        </p:txBody>
      </p:sp>
      <p:sp>
        <p:nvSpPr>
          <p:cNvPr id="8" name="Text Placeholder 13"/>
          <p:cNvSpPr>
            <a:spLocks noGrp="1"/>
          </p:cNvSpPr>
          <p:nvPr>
            <p:ph type="body" sz="quarter" idx="17"/>
          </p:nvPr>
        </p:nvSpPr>
        <p:spPr bwMode="gray">
          <a:xfrm>
            <a:off x="371670" y="1576698"/>
            <a:ext cx="8259575" cy="248708"/>
          </a:xfrm>
        </p:spPr>
        <p:txBody>
          <a:bodyPr/>
          <a:lstStyle>
            <a:lvl1pPr>
              <a:lnSpc>
                <a:spcPts val="1501"/>
              </a:lnSpc>
              <a:buNone/>
              <a:defRPr sz="1400" b="1" baseline="0">
                <a:solidFill>
                  <a:schemeClr val="accent6"/>
                </a:solidFill>
              </a:defRPr>
            </a:lvl1pPr>
          </a:lstStyle>
          <a:p>
            <a:pPr lvl="0"/>
            <a:r>
              <a:rPr lang="en-GB"/>
              <a:t>Click to edit Master text styles</a:t>
            </a:r>
          </a:p>
        </p:txBody>
      </p:sp>
      <p:sp>
        <p:nvSpPr>
          <p:cNvPr id="3" name="Content Placeholder 2"/>
          <p:cNvSpPr>
            <a:spLocks noGrp="1"/>
          </p:cNvSpPr>
          <p:nvPr>
            <p:ph idx="1"/>
          </p:nvPr>
        </p:nvSpPr>
        <p:spPr bwMode="gray">
          <a:xfrm>
            <a:off x="359276" y="1905001"/>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1"/>
              </a:lnSpc>
              <a:defRPr/>
            </a:lvl3pPr>
            <a:lvl4pPr>
              <a:defRPr lang="en-US" sz="1400" b="0" kern="1200" dirty="0" smtClean="0">
                <a:solidFill>
                  <a:srgbClr val="000000"/>
                </a:solidFill>
                <a:latin typeface="+mn-lt"/>
                <a:ea typeface="+mn-ea"/>
                <a:cs typeface="+mn-cs"/>
              </a:defRPr>
            </a:lvl4pPr>
            <a:lvl5pPr>
              <a:defRPr baseline="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093175308"/>
      </p:ext>
    </p:extLst>
  </p:cSld>
  <p:clrMapOvr>
    <a:masterClrMapping/>
  </p:clrMapOvr>
  <p:transition spd="med">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3" cy="1750"/>
        </p:xfrm>
        <a:graphic>
          <a:graphicData uri="http://schemas.openxmlformats.org/presentationml/2006/ole">
            <mc:AlternateContent xmlns:mc="http://schemas.openxmlformats.org/markup-compatibility/2006">
              <mc:Choice xmlns:v="urn:schemas-microsoft-com:vml" Requires="v">
                <p:oleObj spid="_x0000_s110395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10" name="Text Placeholder 13"/>
          <p:cNvSpPr>
            <a:spLocks noGrp="1"/>
          </p:cNvSpPr>
          <p:nvPr>
            <p:ph type="body" sz="quarter" idx="15" hasCustomPrompt="1"/>
          </p:nvPr>
        </p:nvSpPr>
        <p:spPr bwMode="gray">
          <a:xfrm>
            <a:off x="7079329" y="7048427"/>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cxnSp>
        <p:nvCxnSpPr>
          <p:cNvPr id="7" name="Straight Connector 6"/>
          <p:cNvCxnSpPr/>
          <p:nvPr userDrawn="1"/>
        </p:nvCxnSpPr>
        <p:spPr bwMode="gray">
          <a:xfrm>
            <a:off x="1" y="6792023"/>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832" y="6983350"/>
            <a:ext cx="1665479" cy="434644"/>
          </a:xfrm>
          <a:prstGeom prst="rect">
            <a:avLst/>
          </a:prstGeom>
        </p:spPr>
      </p:pic>
    </p:spTree>
    <p:extLst>
      <p:ext uri="{BB962C8B-B14F-4D97-AF65-F5344CB8AC3E}">
        <p14:creationId xmlns:p14="http://schemas.microsoft.com/office/powerpoint/2010/main" val="3396632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Key Findings">
    <p:spTree>
      <p:nvGrpSpPr>
        <p:cNvPr id="1" name=""/>
        <p:cNvGrpSpPr/>
        <p:nvPr/>
      </p:nvGrpSpPr>
      <p:grpSpPr>
        <a:xfrm>
          <a:off x="0" y="0"/>
          <a:ext cx="0" cy="0"/>
          <a:chOff x="0" y="0"/>
          <a:chExt cx="0" cy="0"/>
        </a:xfrm>
      </p:grpSpPr>
      <p:sp>
        <p:nvSpPr>
          <p:cNvPr id="2" name="Title 1"/>
          <p:cNvSpPr>
            <a:spLocks noGrp="1"/>
          </p:cNvSpPr>
          <p:nvPr>
            <p:ph type="title"/>
          </p:nvPr>
        </p:nvSpPr>
        <p:spPr>
          <a:xfrm>
            <a:off x="844852" y="758949"/>
            <a:ext cx="12098656" cy="335568"/>
          </a:xfrm>
        </p:spPr>
        <p:txBody>
          <a:bodyPr/>
          <a:lstStyle/>
          <a:p>
            <a:r>
              <a:rPr lang="en-US" dirty="0"/>
              <a:t>Click to edit Master title style</a:t>
            </a:r>
          </a:p>
        </p:txBody>
      </p:sp>
      <p:sp>
        <p:nvSpPr>
          <p:cNvPr id="8" name="Text Placeholder 2"/>
          <p:cNvSpPr>
            <a:spLocks noGrp="1"/>
          </p:cNvSpPr>
          <p:nvPr>
            <p:ph type="body" idx="12" hasCustomPrompt="1"/>
          </p:nvPr>
        </p:nvSpPr>
        <p:spPr>
          <a:xfrm>
            <a:off x="854188" y="4666334"/>
            <a:ext cx="2079637" cy="303991"/>
          </a:xfrm>
        </p:spPr>
        <p:txBody>
          <a:bodyPr anchor="ctr" anchorCtr="0"/>
          <a:lstStyle>
            <a:lvl1pPr marL="0" indent="0" algn="ctr">
              <a:lnSpc>
                <a:spcPts val="2315"/>
              </a:lnSpc>
              <a:spcAft>
                <a:spcPts val="0"/>
              </a:spcAft>
              <a:buNone/>
              <a:defRPr sz="2000" b="0" i="0" cap="all" spc="0">
                <a:solidFill>
                  <a:schemeClr val="tx2"/>
                </a:solidFill>
                <a:latin typeface="Impact"/>
                <a:cs typeface="Impact"/>
              </a:defRPr>
            </a:lvl1pPr>
            <a:lvl2pPr marL="503814" indent="0">
              <a:buNone/>
              <a:defRPr sz="2199" b="1"/>
            </a:lvl2pPr>
            <a:lvl3pPr marL="1007630" indent="0">
              <a:buNone/>
              <a:defRPr sz="2000" b="1"/>
            </a:lvl3pPr>
            <a:lvl4pPr marL="1511444" indent="0">
              <a:buNone/>
              <a:defRPr sz="1800" b="1"/>
            </a:lvl4pPr>
            <a:lvl5pPr marL="2015260" indent="0">
              <a:buNone/>
              <a:defRPr sz="1800" b="1"/>
            </a:lvl5pPr>
            <a:lvl6pPr marL="2519074" indent="0">
              <a:buNone/>
              <a:defRPr sz="1800" b="1"/>
            </a:lvl6pPr>
            <a:lvl7pPr marL="3022887" indent="0">
              <a:buNone/>
              <a:defRPr sz="1800" b="1"/>
            </a:lvl7pPr>
            <a:lvl8pPr marL="3526703" indent="0">
              <a:buNone/>
              <a:defRPr sz="1800" b="1"/>
            </a:lvl8pPr>
            <a:lvl9pPr marL="4030517" indent="0">
              <a:buNone/>
              <a:defRPr sz="1800" b="1"/>
            </a:lvl9pPr>
          </a:lstStyle>
          <a:p>
            <a:pPr lvl="0"/>
            <a:r>
              <a:rPr lang="en-US" dirty="0"/>
              <a:t>TEXT</a:t>
            </a:r>
          </a:p>
        </p:txBody>
      </p:sp>
      <p:sp>
        <p:nvSpPr>
          <p:cNvPr id="9" name="Text Placeholder 2"/>
          <p:cNvSpPr>
            <a:spLocks noGrp="1"/>
          </p:cNvSpPr>
          <p:nvPr>
            <p:ph type="body" idx="13" hasCustomPrompt="1"/>
          </p:nvPr>
        </p:nvSpPr>
        <p:spPr>
          <a:xfrm>
            <a:off x="3267925" y="4666334"/>
            <a:ext cx="2079637" cy="303991"/>
          </a:xfrm>
        </p:spPr>
        <p:txBody>
          <a:bodyPr anchor="ctr" anchorCtr="0"/>
          <a:lstStyle>
            <a:lvl1pPr marL="0" indent="0" algn="ctr">
              <a:lnSpc>
                <a:spcPts val="2315"/>
              </a:lnSpc>
              <a:spcAft>
                <a:spcPts val="0"/>
              </a:spcAft>
              <a:buNone/>
              <a:defRPr sz="2000" b="0" i="0" cap="all" spc="0">
                <a:solidFill>
                  <a:schemeClr val="accent1"/>
                </a:solidFill>
                <a:latin typeface="Impact"/>
                <a:cs typeface="Impact"/>
              </a:defRPr>
            </a:lvl1pPr>
            <a:lvl2pPr marL="503814" indent="0">
              <a:buNone/>
              <a:defRPr sz="2199" b="1"/>
            </a:lvl2pPr>
            <a:lvl3pPr marL="1007630" indent="0">
              <a:buNone/>
              <a:defRPr sz="2000" b="1"/>
            </a:lvl3pPr>
            <a:lvl4pPr marL="1511444" indent="0">
              <a:buNone/>
              <a:defRPr sz="1800" b="1"/>
            </a:lvl4pPr>
            <a:lvl5pPr marL="2015260" indent="0">
              <a:buNone/>
              <a:defRPr sz="1800" b="1"/>
            </a:lvl5pPr>
            <a:lvl6pPr marL="2519074" indent="0">
              <a:buNone/>
              <a:defRPr sz="1800" b="1"/>
            </a:lvl6pPr>
            <a:lvl7pPr marL="3022887" indent="0">
              <a:buNone/>
              <a:defRPr sz="1800" b="1"/>
            </a:lvl7pPr>
            <a:lvl8pPr marL="3526703" indent="0">
              <a:buNone/>
              <a:defRPr sz="1800" b="1"/>
            </a:lvl8pPr>
            <a:lvl9pPr marL="4030517" indent="0">
              <a:buNone/>
              <a:defRPr sz="1800" b="1"/>
            </a:lvl9pPr>
          </a:lstStyle>
          <a:p>
            <a:pPr lvl="0"/>
            <a:r>
              <a:rPr lang="en-US" dirty="0"/>
              <a:t>TEXT</a:t>
            </a:r>
          </a:p>
        </p:txBody>
      </p:sp>
      <p:sp>
        <p:nvSpPr>
          <p:cNvPr id="10" name="Text Placeholder 2"/>
          <p:cNvSpPr>
            <a:spLocks noGrp="1"/>
          </p:cNvSpPr>
          <p:nvPr>
            <p:ph type="body" idx="14" hasCustomPrompt="1"/>
          </p:nvPr>
        </p:nvSpPr>
        <p:spPr>
          <a:xfrm>
            <a:off x="5681661" y="4666334"/>
            <a:ext cx="2079637" cy="303991"/>
          </a:xfrm>
        </p:spPr>
        <p:txBody>
          <a:bodyPr anchor="ctr" anchorCtr="0"/>
          <a:lstStyle>
            <a:lvl1pPr marL="0" indent="0" algn="ctr">
              <a:lnSpc>
                <a:spcPts val="2315"/>
              </a:lnSpc>
              <a:spcAft>
                <a:spcPts val="0"/>
              </a:spcAft>
              <a:buNone/>
              <a:defRPr sz="2000" b="0" i="0" cap="all" spc="0">
                <a:solidFill>
                  <a:schemeClr val="bg2"/>
                </a:solidFill>
                <a:latin typeface="Impact"/>
                <a:cs typeface="Impact"/>
              </a:defRPr>
            </a:lvl1pPr>
            <a:lvl2pPr marL="503814" indent="0">
              <a:buNone/>
              <a:defRPr sz="2199" b="1"/>
            </a:lvl2pPr>
            <a:lvl3pPr marL="1007630" indent="0">
              <a:buNone/>
              <a:defRPr sz="2000" b="1"/>
            </a:lvl3pPr>
            <a:lvl4pPr marL="1511444" indent="0">
              <a:buNone/>
              <a:defRPr sz="1800" b="1"/>
            </a:lvl4pPr>
            <a:lvl5pPr marL="2015260" indent="0">
              <a:buNone/>
              <a:defRPr sz="1800" b="1"/>
            </a:lvl5pPr>
            <a:lvl6pPr marL="2519074" indent="0">
              <a:buNone/>
              <a:defRPr sz="1800" b="1"/>
            </a:lvl6pPr>
            <a:lvl7pPr marL="3022887" indent="0">
              <a:buNone/>
              <a:defRPr sz="1800" b="1"/>
            </a:lvl7pPr>
            <a:lvl8pPr marL="3526703" indent="0">
              <a:buNone/>
              <a:defRPr sz="1800" b="1"/>
            </a:lvl8pPr>
            <a:lvl9pPr marL="4030517" indent="0">
              <a:buNone/>
              <a:defRPr sz="1800" b="1"/>
            </a:lvl9pPr>
          </a:lstStyle>
          <a:p>
            <a:pPr lvl="0"/>
            <a:r>
              <a:rPr lang="en-US" dirty="0"/>
              <a:t>TEXT</a:t>
            </a:r>
          </a:p>
        </p:txBody>
      </p:sp>
      <p:sp>
        <p:nvSpPr>
          <p:cNvPr id="11" name="Text Placeholder 2"/>
          <p:cNvSpPr>
            <a:spLocks noGrp="1"/>
          </p:cNvSpPr>
          <p:nvPr>
            <p:ph type="body" idx="15" hasCustomPrompt="1"/>
          </p:nvPr>
        </p:nvSpPr>
        <p:spPr>
          <a:xfrm>
            <a:off x="8095390" y="4666334"/>
            <a:ext cx="2079637" cy="303991"/>
          </a:xfrm>
        </p:spPr>
        <p:txBody>
          <a:bodyPr anchor="ctr" anchorCtr="0"/>
          <a:lstStyle>
            <a:lvl1pPr marL="0" indent="0" algn="ctr">
              <a:lnSpc>
                <a:spcPts val="2315"/>
              </a:lnSpc>
              <a:spcAft>
                <a:spcPts val="0"/>
              </a:spcAft>
              <a:buNone/>
              <a:defRPr sz="2000" b="0" i="0" cap="all" spc="0">
                <a:solidFill>
                  <a:schemeClr val="accent2"/>
                </a:solidFill>
                <a:latin typeface="Impact"/>
                <a:cs typeface="Impact"/>
              </a:defRPr>
            </a:lvl1pPr>
            <a:lvl2pPr marL="503814" indent="0">
              <a:buNone/>
              <a:defRPr sz="2199" b="1"/>
            </a:lvl2pPr>
            <a:lvl3pPr marL="1007630" indent="0">
              <a:buNone/>
              <a:defRPr sz="2000" b="1"/>
            </a:lvl3pPr>
            <a:lvl4pPr marL="1511444" indent="0">
              <a:buNone/>
              <a:defRPr sz="1800" b="1"/>
            </a:lvl4pPr>
            <a:lvl5pPr marL="2015260" indent="0">
              <a:buNone/>
              <a:defRPr sz="1800" b="1"/>
            </a:lvl5pPr>
            <a:lvl6pPr marL="2519074" indent="0">
              <a:buNone/>
              <a:defRPr sz="1800" b="1"/>
            </a:lvl6pPr>
            <a:lvl7pPr marL="3022887" indent="0">
              <a:buNone/>
              <a:defRPr sz="1800" b="1"/>
            </a:lvl7pPr>
            <a:lvl8pPr marL="3526703" indent="0">
              <a:buNone/>
              <a:defRPr sz="1800" b="1"/>
            </a:lvl8pPr>
            <a:lvl9pPr marL="4030517" indent="0">
              <a:buNone/>
              <a:defRPr sz="1800" b="1"/>
            </a:lvl9pPr>
          </a:lstStyle>
          <a:p>
            <a:pPr lvl="0"/>
            <a:r>
              <a:rPr lang="en-US" dirty="0"/>
              <a:t>TEXT</a:t>
            </a:r>
          </a:p>
        </p:txBody>
      </p:sp>
      <p:sp>
        <p:nvSpPr>
          <p:cNvPr id="12" name="Text Placeholder 2"/>
          <p:cNvSpPr>
            <a:spLocks noGrp="1"/>
          </p:cNvSpPr>
          <p:nvPr>
            <p:ph type="body" idx="16" hasCustomPrompt="1"/>
          </p:nvPr>
        </p:nvSpPr>
        <p:spPr>
          <a:xfrm>
            <a:off x="10509128" y="4666334"/>
            <a:ext cx="2079637" cy="303991"/>
          </a:xfrm>
        </p:spPr>
        <p:txBody>
          <a:bodyPr anchor="ctr" anchorCtr="0"/>
          <a:lstStyle>
            <a:lvl1pPr marL="0" indent="0" algn="ctr">
              <a:lnSpc>
                <a:spcPts val="2315"/>
              </a:lnSpc>
              <a:spcAft>
                <a:spcPts val="0"/>
              </a:spcAft>
              <a:buNone/>
              <a:defRPr sz="2000" b="0" i="0" cap="all" spc="0">
                <a:solidFill>
                  <a:schemeClr val="accent3"/>
                </a:solidFill>
                <a:latin typeface="Impact"/>
                <a:cs typeface="Impact"/>
              </a:defRPr>
            </a:lvl1pPr>
            <a:lvl2pPr marL="503814" indent="0">
              <a:buNone/>
              <a:defRPr sz="2199" b="1"/>
            </a:lvl2pPr>
            <a:lvl3pPr marL="1007630" indent="0">
              <a:buNone/>
              <a:defRPr sz="2000" b="1"/>
            </a:lvl3pPr>
            <a:lvl4pPr marL="1511444" indent="0">
              <a:buNone/>
              <a:defRPr sz="1800" b="1"/>
            </a:lvl4pPr>
            <a:lvl5pPr marL="2015260" indent="0">
              <a:buNone/>
              <a:defRPr sz="1800" b="1"/>
            </a:lvl5pPr>
            <a:lvl6pPr marL="2519074" indent="0">
              <a:buNone/>
              <a:defRPr sz="1800" b="1"/>
            </a:lvl6pPr>
            <a:lvl7pPr marL="3022887" indent="0">
              <a:buNone/>
              <a:defRPr sz="1800" b="1"/>
            </a:lvl7pPr>
            <a:lvl8pPr marL="3526703" indent="0">
              <a:buNone/>
              <a:defRPr sz="1800" b="1"/>
            </a:lvl8pPr>
            <a:lvl9pPr marL="4030517" indent="0">
              <a:buNone/>
              <a:defRPr sz="1800" b="1"/>
            </a:lvl9pPr>
          </a:lstStyle>
          <a:p>
            <a:pPr lvl="0"/>
            <a:r>
              <a:rPr lang="en-US" dirty="0"/>
              <a:t>TEXT</a:t>
            </a:r>
          </a:p>
        </p:txBody>
      </p:sp>
      <p:cxnSp>
        <p:nvCxnSpPr>
          <p:cNvPr id="13" name="Straight Connector 12"/>
          <p:cNvCxnSpPr/>
          <p:nvPr userDrawn="1"/>
        </p:nvCxnSpPr>
        <p:spPr>
          <a:xfrm>
            <a:off x="1" y="6792885"/>
            <a:ext cx="13442950" cy="0"/>
          </a:xfrm>
          <a:prstGeom prst="line">
            <a:avLst/>
          </a:prstGeom>
          <a:ln w="0">
            <a:solidFill>
              <a:schemeClr val="accent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7966457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xmlns:p14="http://schemas.microsoft.com/office/powerpoint/2010/mai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GB" sz="1900" dirty="0">
              <a:solidFill>
                <a:srgbClr val="000000"/>
              </a:solidFill>
            </a:endParaRPr>
          </a:p>
        </p:txBody>
      </p:sp>
      <p:graphicFrame>
        <p:nvGraphicFramePr>
          <p:cNvPr id="8" name="Object 7"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0497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8"/>
          </a:xfr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2"/>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4"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14" name="Text Placeholder 3"/>
          <p:cNvSpPr>
            <a:spLocks noGrp="1"/>
          </p:cNvSpPr>
          <p:nvPr>
            <p:ph type="body" sz="quarter" idx="10" hasCustomPrompt="1"/>
          </p:nvPr>
        </p:nvSpPr>
        <p:spPr bwMode="gray">
          <a:xfrm>
            <a:off x="2531933" y="2512932"/>
            <a:ext cx="8402590" cy="3106574"/>
          </a:xfr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16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0600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3" name="Picture 12"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832" y="6983350"/>
            <a:ext cx="1665479" cy="434644"/>
          </a:xfrm>
          <a:prstGeom prst="rect">
            <a:avLst/>
          </a:prstGeom>
        </p:spPr>
      </p:pic>
    </p:spTree>
    <p:extLst>
      <p:ext uri="{BB962C8B-B14F-4D97-AF65-F5344CB8AC3E}">
        <p14:creationId xmlns:p14="http://schemas.microsoft.com/office/powerpoint/2010/main" val="1660937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365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0702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0"/>
            <a:ext cx="214713"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397795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1"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4" name="Media Placeholder 46"/>
          <p:cNvSpPr>
            <a:spLocks noGrp="1"/>
          </p:cNvSpPr>
          <p:nvPr>
            <p:ph type="media" sz="quarter" idx="10" hasCustomPrompt="1"/>
          </p:nvPr>
        </p:nvSpPr>
        <p:spPr bwMode="gray">
          <a:xfrm>
            <a:off x="-1" y="852140"/>
            <a:ext cx="13442950" cy="5856983"/>
          </a:xfrm>
          <a:prstGeom prst="rect">
            <a:avLst/>
          </a:prstGeo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197817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0804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1" y="1395414"/>
            <a:ext cx="12695650" cy="4854575"/>
          </a:xfrm>
          <a:solidFill>
            <a:srgbClr val="DFDEDE"/>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54209" y="6338248"/>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54209" y="6515700"/>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88532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8222" y="1237457"/>
            <a:ext cx="11426508" cy="2632440"/>
          </a:xfrm>
        </p:spPr>
        <p:txBody>
          <a:bodyPr anchor="b"/>
          <a:lstStyle>
            <a:lvl1pPr algn="ctr">
              <a:defRPr sz="6614"/>
            </a:lvl1pPr>
          </a:lstStyle>
          <a:p>
            <a:r>
              <a:rPr lang="en-US"/>
              <a:t>Click to edit Master title style</a:t>
            </a:r>
            <a:endParaRPr lang="en-US" dirty="0"/>
          </a:p>
        </p:txBody>
      </p:sp>
      <p:sp>
        <p:nvSpPr>
          <p:cNvPr id="3" name="Subtitle 2"/>
          <p:cNvSpPr>
            <a:spLocks noGrp="1"/>
          </p:cNvSpPr>
          <p:nvPr>
            <p:ph type="subTitle" idx="1"/>
          </p:nvPr>
        </p:nvSpPr>
        <p:spPr>
          <a:xfrm>
            <a:off x="1680370" y="3971414"/>
            <a:ext cx="10082213" cy="1825554"/>
          </a:xfrm>
        </p:spPr>
        <p:txBody>
          <a:bodyPr/>
          <a:lstStyle>
            <a:lvl1pPr marL="0" indent="0" algn="ctr">
              <a:buNone/>
              <a:defRPr sz="2646"/>
            </a:lvl1pPr>
            <a:lvl2pPr marL="504000" indent="0" algn="ctr">
              <a:buNone/>
              <a:defRPr sz="2205"/>
            </a:lvl2pPr>
            <a:lvl3pPr marL="1008003" indent="0" algn="ctr">
              <a:buNone/>
              <a:defRPr sz="1983"/>
            </a:lvl3pPr>
            <a:lvl4pPr marL="1512003" indent="0" algn="ctr">
              <a:buNone/>
              <a:defRPr sz="1764"/>
            </a:lvl4pPr>
            <a:lvl5pPr marL="2016004" indent="0" algn="ctr">
              <a:buNone/>
              <a:defRPr sz="1764"/>
            </a:lvl5pPr>
            <a:lvl6pPr marL="2520004" indent="0" algn="ctr">
              <a:buNone/>
              <a:defRPr sz="1764"/>
            </a:lvl6pPr>
            <a:lvl7pPr marL="3024005" indent="0" algn="ctr">
              <a:buNone/>
              <a:defRPr sz="1764"/>
            </a:lvl7pPr>
            <a:lvl8pPr marL="3528007" indent="0" algn="ctr">
              <a:buNone/>
              <a:defRPr sz="1764"/>
            </a:lvl8pPr>
            <a:lvl9pPr marL="4032007" indent="0" algn="ctr">
              <a:buNone/>
              <a:defRPr sz="1764"/>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defTabSz="961813"/>
            <a:fld id="{A272FBEE-9904-4048-9D2D-D662C43E7C0D}" type="datetimeFigureOut">
              <a:rPr lang="en-US" smtClean="0">
                <a:solidFill>
                  <a:prstClr val="black">
                    <a:tint val="75000"/>
                  </a:prstClr>
                </a:solidFill>
              </a:rPr>
              <a:pPr defTabSz="961813"/>
              <a:t>3/22/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61813"/>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61813"/>
            <a:fld id="{9DDA00B3-BF19-0D46-8B6C-BAB71713E111}" type="slidenum">
              <a:rPr lang="en-US" smtClean="0">
                <a:solidFill>
                  <a:prstClr val="black">
                    <a:tint val="75000"/>
                  </a:prstClr>
                </a:solidFill>
              </a:rPr>
              <a:pPr defTabSz="961813"/>
              <a:t>‹#›</a:t>
            </a:fld>
            <a:endParaRPr lang="en-US">
              <a:solidFill>
                <a:prstClr val="black">
                  <a:tint val="75000"/>
                </a:prstClr>
              </a:solidFill>
            </a:endParaRPr>
          </a:p>
        </p:txBody>
      </p:sp>
    </p:spTree>
    <p:extLst>
      <p:ext uri="{BB962C8B-B14F-4D97-AF65-F5344CB8AC3E}">
        <p14:creationId xmlns:p14="http://schemas.microsoft.com/office/powerpoint/2010/main" val="96497305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0907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0"/>
            <a:ext cx="214713"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5" y="1395414"/>
            <a:ext cx="10555363"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849135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009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17" name="Picture Placeholder 13"/>
          <p:cNvSpPr>
            <a:spLocks noGrp="1"/>
          </p:cNvSpPr>
          <p:nvPr>
            <p:ph type="pic" sz="quarter" idx="22" hasCustomPrompt="1"/>
          </p:nvPr>
        </p:nvSpPr>
        <p:spPr bwMode="gray">
          <a:xfrm>
            <a:off x="6803621" y="1946274"/>
            <a:ext cx="4128568" cy="2655889"/>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6798879" y="4683125"/>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7" y="1372457"/>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7"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hasCustomPrompt="1"/>
          </p:nvPr>
        </p:nvSpPr>
        <p:spPr bwMode="gray">
          <a:xfrm>
            <a:off x="3613871" y="1946276"/>
            <a:ext cx="3046212" cy="3749675"/>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28" name="Text Placeholder 13"/>
          <p:cNvSpPr>
            <a:spLocks noGrp="1"/>
          </p:cNvSpPr>
          <p:nvPr>
            <p:ph type="body" sz="quarter" idx="17" hasCustomPrompt="1"/>
          </p:nvPr>
        </p:nvSpPr>
        <p:spPr bwMode="gray">
          <a:xfrm>
            <a:off x="3608530" y="5791661"/>
            <a:ext cx="305155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3"/>
            <a:ext cx="305155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hasCustomPrompt="1"/>
          </p:nvPr>
        </p:nvSpPr>
        <p:spPr bwMode="gray">
          <a:xfrm>
            <a:off x="11097315" y="1946275"/>
            <a:ext cx="1979396" cy="1547812"/>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1" name="Picture Placeholder 13"/>
          <p:cNvSpPr>
            <a:spLocks noGrp="1"/>
          </p:cNvSpPr>
          <p:nvPr>
            <p:ph type="pic" sz="quarter" idx="28" hasCustomPrompt="1"/>
          </p:nvPr>
        </p:nvSpPr>
        <p:spPr bwMode="gray">
          <a:xfrm>
            <a:off x="11072191" y="4102376"/>
            <a:ext cx="1979396" cy="1593574"/>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3" name="Text Placeholder 13"/>
          <p:cNvSpPr>
            <a:spLocks noGrp="1"/>
          </p:cNvSpPr>
          <p:nvPr>
            <p:ph type="body" sz="quarter" idx="29" hasCustomPrompt="1"/>
          </p:nvPr>
        </p:nvSpPr>
        <p:spPr bwMode="gray">
          <a:xfrm>
            <a:off x="11083123" y="5779332"/>
            <a:ext cx="195576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3" y="5956781"/>
            <a:ext cx="1955762"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7" y="3572706"/>
            <a:ext cx="195576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7" y="3750158"/>
            <a:ext cx="1955762"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hasCustomPrompt="1"/>
          </p:nvPr>
        </p:nvSpPr>
        <p:spPr bwMode="gray">
          <a:xfrm>
            <a:off x="392654" y="4102374"/>
            <a:ext cx="3055940" cy="1593578"/>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0" name="Text Placeholder 13"/>
          <p:cNvSpPr>
            <a:spLocks noGrp="1"/>
          </p:cNvSpPr>
          <p:nvPr>
            <p:ph type="body" sz="quarter" idx="34" hasCustomPrompt="1"/>
          </p:nvPr>
        </p:nvSpPr>
        <p:spPr bwMode="gray">
          <a:xfrm>
            <a:off x="370379" y="5791661"/>
            <a:ext cx="307821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9" y="5969113"/>
            <a:ext cx="307821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hasCustomPrompt="1"/>
          </p:nvPr>
        </p:nvSpPr>
        <p:spPr bwMode="gray">
          <a:xfrm>
            <a:off x="392654" y="1946278"/>
            <a:ext cx="3055940" cy="1547810"/>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4" name="Text Placeholder 13"/>
          <p:cNvSpPr>
            <a:spLocks noGrp="1"/>
          </p:cNvSpPr>
          <p:nvPr>
            <p:ph type="body" sz="quarter" idx="37" hasCustomPrompt="1"/>
          </p:nvPr>
        </p:nvSpPr>
        <p:spPr bwMode="gray">
          <a:xfrm>
            <a:off x="374101" y="3577483"/>
            <a:ext cx="3074494"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4"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79959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112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1" y="1704525"/>
            <a:ext cx="1992098"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24" name="Text Placeholder 13"/>
          <p:cNvSpPr>
            <a:spLocks noGrp="1"/>
          </p:cNvSpPr>
          <p:nvPr>
            <p:ph type="body" sz="quarter" idx="17" hasCustomPrompt="1"/>
          </p:nvPr>
        </p:nvSpPr>
        <p:spPr bwMode="gray">
          <a:xfrm>
            <a:off x="381061" y="4134929"/>
            <a:ext cx="1992098" cy="248390"/>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5" name="Text Placeholder 13"/>
          <p:cNvSpPr>
            <a:spLocks noGrp="1"/>
          </p:cNvSpPr>
          <p:nvPr>
            <p:ph type="body" sz="quarter" idx="18" hasCustomPrompt="1"/>
          </p:nvPr>
        </p:nvSpPr>
        <p:spPr bwMode="gray">
          <a:xfrm>
            <a:off x="381061" y="4312382"/>
            <a:ext cx="1987378"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7" name="Picture Placeholder 13"/>
          <p:cNvSpPr>
            <a:spLocks noGrp="1"/>
          </p:cNvSpPr>
          <p:nvPr>
            <p:ph type="pic" sz="quarter" idx="19" hasCustomPrompt="1"/>
          </p:nvPr>
        </p:nvSpPr>
        <p:spPr bwMode="gray">
          <a:xfrm>
            <a:off x="2531932" y="2806108"/>
            <a:ext cx="1992314"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8" name="Text Placeholder 13"/>
          <p:cNvSpPr>
            <a:spLocks noGrp="1"/>
          </p:cNvSpPr>
          <p:nvPr>
            <p:ph type="body" sz="quarter" idx="20" hasCustomPrompt="1"/>
          </p:nvPr>
        </p:nvSpPr>
        <p:spPr bwMode="gray">
          <a:xfrm>
            <a:off x="2531932" y="5245685"/>
            <a:ext cx="1964145"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21" hasCustomPrompt="1"/>
          </p:nvPr>
        </p:nvSpPr>
        <p:spPr bwMode="gray">
          <a:xfrm>
            <a:off x="2531932" y="5423137"/>
            <a:ext cx="1964145"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1" name="Picture Placeholder 13"/>
          <p:cNvSpPr>
            <a:spLocks noGrp="1"/>
          </p:cNvSpPr>
          <p:nvPr>
            <p:ph type="pic" sz="quarter" idx="22" hasCustomPrompt="1"/>
          </p:nvPr>
        </p:nvSpPr>
        <p:spPr bwMode="gray">
          <a:xfrm>
            <a:off x="4670102" y="1704527"/>
            <a:ext cx="1992314" cy="2312709"/>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2" name="Text Placeholder 13"/>
          <p:cNvSpPr>
            <a:spLocks noGrp="1"/>
          </p:cNvSpPr>
          <p:nvPr>
            <p:ph type="body" sz="quarter" idx="23" hasCustomPrompt="1"/>
          </p:nvPr>
        </p:nvSpPr>
        <p:spPr bwMode="gray">
          <a:xfrm>
            <a:off x="4670103" y="4134929"/>
            <a:ext cx="198998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24" hasCustomPrompt="1"/>
          </p:nvPr>
        </p:nvSpPr>
        <p:spPr bwMode="gray">
          <a:xfrm>
            <a:off x="4670103" y="4312382"/>
            <a:ext cx="198998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5" name="Picture Placeholder 13"/>
          <p:cNvSpPr>
            <a:spLocks noGrp="1"/>
          </p:cNvSpPr>
          <p:nvPr>
            <p:ph type="pic" sz="quarter" idx="25" hasCustomPrompt="1"/>
          </p:nvPr>
        </p:nvSpPr>
        <p:spPr bwMode="gray">
          <a:xfrm>
            <a:off x="6804490" y="2806108"/>
            <a:ext cx="1981061"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6" name="Text Placeholder 13"/>
          <p:cNvSpPr>
            <a:spLocks noGrp="1"/>
          </p:cNvSpPr>
          <p:nvPr>
            <p:ph type="body" sz="quarter" idx="26" hasCustomPrompt="1"/>
          </p:nvPr>
        </p:nvSpPr>
        <p:spPr bwMode="gray">
          <a:xfrm>
            <a:off x="6804490" y="5245685"/>
            <a:ext cx="198106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27" hasCustomPrompt="1"/>
          </p:nvPr>
        </p:nvSpPr>
        <p:spPr bwMode="gray">
          <a:xfrm>
            <a:off x="6804490" y="5423138"/>
            <a:ext cx="198106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28" hasCustomPrompt="1"/>
          </p:nvPr>
        </p:nvSpPr>
        <p:spPr bwMode="gray">
          <a:xfrm>
            <a:off x="8946442" y="1704525"/>
            <a:ext cx="1992314"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0" name="Text Placeholder 13"/>
          <p:cNvSpPr>
            <a:spLocks noGrp="1"/>
          </p:cNvSpPr>
          <p:nvPr>
            <p:ph type="body" sz="quarter" idx="29" hasCustomPrompt="1"/>
          </p:nvPr>
        </p:nvSpPr>
        <p:spPr bwMode="gray">
          <a:xfrm>
            <a:off x="8946442" y="4133355"/>
            <a:ext cx="198574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0" hasCustomPrompt="1"/>
          </p:nvPr>
        </p:nvSpPr>
        <p:spPr bwMode="gray">
          <a:xfrm>
            <a:off x="8946442" y="4310808"/>
            <a:ext cx="198574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3" name="Picture Placeholder 13"/>
          <p:cNvSpPr>
            <a:spLocks noGrp="1"/>
          </p:cNvSpPr>
          <p:nvPr>
            <p:ph type="pic" sz="quarter" idx="31" hasCustomPrompt="1"/>
          </p:nvPr>
        </p:nvSpPr>
        <p:spPr bwMode="gray">
          <a:xfrm>
            <a:off x="11097314" y="2804535"/>
            <a:ext cx="1992314" cy="2335342"/>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4" name="Text Placeholder 13"/>
          <p:cNvSpPr>
            <a:spLocks noGrp="1"/>
          </p:cNvSpPr>
          <p:nvPr>
            <p:ph type="body" sz="quarter" idx="32" hasCustomPrompt="1"/>
          </p:nvPr>
        </p:nvSpPr>
        <p:spPr bwMode="gray">
          <a:xfrm>
            <a:off x="11097313" y="5244110"/>
            <a:ext cx="197939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3" hasCustomPrompt="1"/>
          </p:nvPr>
        </p:nvSpPr>
        <p:spPr bwMode="gray">
          <a:xfrm>
            <a:off x="11097313" y="5421563"/>
            <a:ext cx="197939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552095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214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16" name="Rectangle 15"/>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GB" sz="1900" dirty="0">
              <a:solidFill>
                <a:srgbClr val="000000"/>
              </a:solidFill>
            </a:endParaRPr>
          </a:p>
        </p:txBody>
      </p:sp>
      <p:sp>
        <p:nvSpPr>
          <p:cNvPr id="14" name="Picture Placeholder 13"/>
          <p:cNvSpPr>
            <a:spLocks noGrp="1"/>
          </p:cNvSpPr>
          <p:nvPr>
            <p:ph type="pic" sz="quarter" idx="16" hasCustomPrompt="1"/>
          </p:nvPr>
        </p:nvSpPr>
        <p:spPr bwMode="gray">
          <a:xfrm>
            <a:off x="381061" y="1395414"/>
            <a:ext cx="12695650" cy="5407025"/>
          </a:xfrm>
          <a:prstGeom prst="rect">
            <a:avLst/>
          </a:prstGeom>
          <a:solidFill>
            <a:srgbClr val="DFDEDE"/>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9" y="7048426"/>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440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316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59" y="1395413"/>
            <a:ext cx="4119682"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60736" y="6088455"/>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60736" y="6265909"/>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4671690" y="1395413"/>
            <a:ext cx="4113860"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5" name="Text Placeholder 13"/>
          <p:cNvSpPr>
            <a:spLocks noGrp="1"/>
          </p:cNvSpPr>
          <p:nvPr>
            <p:ph type="body" sz="quarter" idx="20" hasCustomPrompt="1"/>
          </p:nvPr>
        </p:nvSpPr>
        <p:spPr bwMode="gray">
          <a:xfrm>
            <a:off x="4656786" y="6089725"/>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56786"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8946442" y="1395413"/>
            <a:ext cx="4130268"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8" name="Text Placeholder 13"/>
          <p:cNvSpPr>
            <a:spLocks noGrp="1"/>
          </p:cNvSpPr>
          <p:nvPr>
            <p:ph type="body" sz="quarter" idx="23" hasCustomPrompt="1"/>
          </p:nvPr>
        </p:nvSpPr>
        <p:spPr bwMode="gray">
          <a:xfrm>
            <a:off x="8911095" y="6089725"/>
            <a:ext cx="4165614"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11095" y="6267179"/>
            <a:ext cx="4165614"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064514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amp; Content Op 8">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419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1" name="Text Placeholder 3"/>
          <p:cNvSpPr>
            <a:spLocks noGrp="1"/>
          </p:cNvSpPr>
          <p:nvPr>
            <p:ph type="body" sz="half" idx="2" hasCustomPrompt="1"/>
          </p:nvPr>
        </p:nvSpPr>
        <p:spPr>
          <a:xfrm>
            <a:off x="5864253" y="6992186"/>
            <a:ext cx="7152151" cy="243656"/>
          </a:xfrm>
          <a:prstGeom prst="rect">
            <a:avLst/>
          </a:prstGeom>
        </p:spPr>
        <p:txBody>
          <a:bodyPr wrap="square" anchor="b" anchorCtr="0">
            <a:spAutoFit/>
          </a:bodyPr>
          <a:lstStyle>
            <a:lvl1pPr marL="0" indent="0" algn="r">
              <a:buNone/>
              <a:defRPr sz="700" b="1">
                <a:solidFill>
                  <a:schemeClr val="bg1"/>
                </a:solidFill>
              </a:defRPr>
            </a:lvl1pPr>
            <a:lvl2pPr marL="457185" indent="0">
              <a:buNone/>
              <a:defRPr sz="1400"/>
            </a:lvl2pPr>
            <a:lvl3pPr marL="914371" indent="0">
              <a:buNone/>
              <a:defRPr sz="1200"/>
            </a:lvl3pPr>
            <a:lvl4pPr marL="1371555" indent="0">
              <a:buNone/>
              <a:defRPr sz="1000"/>
            </a:lvl4pPr>
            <a:lvl5pPr marL="1828741" indent="0">
              <a:buNone/>
              <a:defRPr sz="1000"/>
            </a:lvl5pPr>
            <a:lvl6pPr marL="2285926" indent="0">
              <a:buNone/>
              <a:defRPr sz="1000"/>
            </a:lvl6pPr>
            <a:lvl7pPr marL="2743110" indent="0">
              <a:buNone/>
              <a:defRPr sz="1000"/>
            </a:lvl7pPr>
            <a:lvl8pPr marL="3200296" indent="0">
              <a:buNone/>
              <a:defRPr sz="1000"/>
            </a:lvl8pPr>
            <a:lvl9pPr marL="3657481" indent="0">
              <a:buNone/>
              <a:defRPr sz="1000"/>
            </a:lvl9pPr>
          </a:lstStyle>
          <a:p>
            <a:pPr lvl="0"/>
            <a:r>
              <a:rPr lang="en-GB" dirty="0"/>
              <a:t>Source: Insert Source here</a:t>
            </a:r>
          </a:p>
        </p:txBody>
      </p:sp>
      <p:sp>
        <p:nvSpPr>
          <p:cNvPr id="28" name="Text Placeholder 13"/>
          <p:cNvSpPr>
            <a:spLocks noGrp="1"/>
          </p:cNvSpPr>
          <p:nvPr>
            <p:ph type="body" sz="quarter" idx="18" hasCustomPrompt="1"/>
          </p:nvPr>
        </p:nvSpPr>
        <p:spPr bwMode="gray">
          <a:xfrm>
            <a:off x="363209" y="812746"/>
            <a:ext cx="12423740" cy="436608"/>
          </a:xfrm>
          <a:prstGeom prst="rect">
            <a:avLst/>
          </a:prstGeom>
        </p:spPr>
        <p:txBody>
          <a:bodyPr lIns="0"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14" name="Text Placeholder 2"/>
          <p:cNvSpPr>
            <a:spLocks noGrp="1"/>
          </p:cNvSpPr>
          <p:nvPr>
            <p:ph type="body" idx="19" hasCustomPrompt="1"/>
          </p:nvPr>
        </p:nvSpPr>
        <p:spPr>
          <a:xfrm>
            <a:off x="2810794" y="5900489"/>
            <a:ext cx="7838065" cy="369384"/>
          </a:xfrm>
          <a:prstGeom prst="rect">
            <a:avLst/>
          </a:prstGeom>
        </p:spPr>
        <p:txBody>
          <a:bodyPr wrap="square" anchor="ctr" anchorCtr="0">
            <a:spAutoFit/>
          </a:bodyPr>
          <a:lstStyle>
            <a:lvl1pPr marL="0" indent="0" algn="ctr">
              <a:lnSpc>
                <a:spcPct val="100000"/>
              </a:lnSpc>
              <a:buNone/>
              <a:defRPr sz="2400" b="1" cap="none" baseline="0">
                <a:solidFill>
                  <a:schemeClr val="accent6"/>
                </a:solidFill>
                <a:latin typeface="+mn-lt"/>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Tree>
    <p:extLst>
      <p:ext uri="{BB962C8B-B14F-4D97-AF65-F5344CB8AC3E}">
        <p14:creationId xmlns:p14="http://schemas.microsoft.com/office/powerpoint/2010/main" val="323814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extLst mod="1">
    <p:ext uri="{DCECCB84-F9BA-43D5-87BE-67443E8EF086}">
      <p15:sldGuideLst xmlns:p15="http://schemas.microsoft.com/office/powerpoint/2012/main">
        <p15:guide id="1" orient="horz" pos="2381">
          <p15:clr>
            <a:srgbClr val="FBAE40"/>
          </p15:clr>
        </p15:guide>
        <p15:guide id="2" pos="317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62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1" name="Picture 10"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Picture Placeholder 10"/>
          <p:cNvSpPr>
            <a:spLocks noGrp="1"/>
          </p:cNvSpPr>
          <p:nvPr>
            <p:ph type="pic" sz="quarter" idx="16"/>
          </p:nvPr>
        </p:nvSpPr>
        <p:spPr bwMode="gray">
          <a:xfrm>
            <a:off x="1" y="1"/>
            <a:ext cx="13442950" cy="6789090"/>
          </a:xfrm>
          <a:prstGeom prst="rect">
            <a:avLst/>
          </a:prstGeom>
          <a:solidFill>
            <a:schemeClr val="accent5"/>
          </a:solidFill>
          <a:ln>
            <a:noFill/>
          </a:ln>
        </p:spPr>
        <p:txBody>
          <a:bodyPr tIns="1440000" anchor="t"/>
          <a:lstStyle>
            <a:lvl1pPr algn="ctr">
              <a:buNone/>
              <a:defRPr>
                <a:solidFill>
                  <a:srgbClr val="000000"/>
                </a:solidFill>
              </a:defRPr>
            </a:lvl1pPr>
          </a:lstStyle>
          <a:p>
            <a:r>
              <a:rPr lang="en-US" dirty="0"/>
              <a:t>Click icon to add picture</a:t>
            </a:r>
          </a:p>
        </p:txBody>
      </p:sp>
      <p:graphicFrame>
        <p:nvGraphicFramePr>
          <p:cNvPr id="7" name="Object 6"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15216" name="think-cell Slide" r:id="rId4" imgW="6350000" imgH="6350000" progId="">
                  <p:embed/>
                </p:oleObj>
              </mc:Choice>
              <mc:Fallback>
                <p:oleObj name="think-cell Slide" r:id="rId4" imgW="6350000" imgH="635000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bwMode="gray">
          <a:xfrm>
            <a:off x="3606810" y="4292038"/>
            <a:ext cx="8049736" cy="1261884"/>
          </a:xfrm>
        </p:spPr>
        <p:txBody>
          <a:bodyPr wrap="square" anchor="t" anchorCtr="0">
            <a:spAutoFit/>
          </a:bodyPr>
          <a:lstStyle>
            <a:lvl1pPr algn="r">
              <a:lnSpc>
                <a:spcPct val="100000"/>
              </a:lnSpc>
              <a:defRPr sz="8199" baseline="0">
                <a:solidFill>
                  <a:srgbClr val="FFFFFF"/>
                </a:solidFill>
              </a:defRPr>
            </a:lvl1pPr>
          </a:lstStyle>
          <a:p>
            <a:r>
              <a:rPr lang="en-US" dirty="0"/>
              <a:t>TITLE TEXT</a:t>
            </a:r>
          </a:p>
        </p:txBody>
      </p:sp>
      <p:sp>
        <p:nvSpPr>
          <p:cNvPr id="3" name="Subtitle 2"/>
          <p:cNvSpPr>
            <a:spLocks noGrp="1"/>
          </p:cNvSpPr>
          <p:nvPr>
            <p:ph type="subTitle" idx="1" hasCustomPrompt="1"/>
          </p:nvPr>
        </p:nvSpPr>
        <p:spPr bwMode="gray">
          <a:xfrm>
            <a:off x="3606809" y="4085332"/>
            <a:ext cx="8002836" cy="307808"/>
          </a:xfrm>
          <a:prstGeom prst="rect">
            <a:avLst/>
          </a:prstGeom>
        </p:spPr>
        <p:txBody>
          <a:bodyPr wrap="square" rIns="0">
            <a:spAutoFit/>
          </a:bodyPr>
          <a:lstStyle>
            <a:lvl1pPr marL="0" indent="0" algn="r">
              <a:lnSpc>
                <a:spcPct val="100000"/>
              </a:lnSpc>
              <a:buNone/>
              <a:defRPr sz="2000" b="1" i="0" cap="all" baseline="0">
                <a:solidFill>
                  <a:srgbClr val="FFFFFF"/>
                </a:solidFill>
                <a:latin typeface="Impact" charset="0"/>
                <a:ea typeface="Impact" charset="0"/>
                <a:cs typeface="Impact" charset="0"/>
              </a:defRPr>
            </a:lvl1pPr>
            <a:lvl2pPr marL="480907" indent="0" algn="ctr">
              <a:buNone/>
              <a:defRPr sz="2100"/>
            </a:lvl2pPr>
            <a:lvl3pPr marL="961813" indent="0" algn="ctr">
              <a:buNone/>
              <a:defRPr sz="1900"/>
            </a:lvl3pPr>
            <a:lvl4pPr marL="1442722" indent="0" algn="ctr">
              <a:buNone/>
              <a:defRPr sz="1700"/>
            </a:lvl4pPr>
            <a:lvl5pPr marL="1923629" indent="0" algn="ctr">
              <a:buNone/>
              <a:defRPr sz="1700"/>
            </a:lvl5pPr>
            <a:lvl6pPr marL="2404535" indent="0" algn="ctr">
              <a:buNone/>
              <a:defRPr sz="1700"/>
            </a:lvl6pPr>
            <a:lvl7pPr marL="2885441" indent="0" algn="ctr">
              <a:buNone/>
              <a:defRPr sz="1700"/>
            </a:lvl7pPr>
            <a:lvl8pPr marL="3366348" indent="0" algn="ctr">
              <a:buNone/>
              <a:defRPr sz="1700"/>
            </a:lvl8pPr>
            <a:lvl9pPr marL="3847253" indent="0" algn="ctr">
              <a:buNone/>
              <a:defRPr sz="1700"/>
            </a:lvl9pPr>
          </a:lstStyle>
          <a:p>
            <a:r>
              <a:rPr lang="en-US" dirty="0"/>
              <a:t>Text</a:t>
            </a:r>
          </a:p>
        </p:txBody>
      </p:sp>
      <p:sp>
        <p:nvSpPr>
          <p:cNvPr id="11" name="Text Placeholder 3"/>
          <p:cNvSpPr>
            <a:spLocks noGrp="1"/>
          </p:cNvSpPr>
          <p:nvPr>
            <p:ph type="body" sz="half" idx="2" hasCustomPrompt="1"/>
          </p:nvPr>
        </p:nvSpPr>
        <p:spPr>
          <a:xfrm>
            <a:off x="5864253" y="6992186"/>
            <a:ext cx="7152151" cy="243656"/>
          </a:xfrm>
          <a:prstGeom prst="rect">
            <a:avLst/>
          </a:prstGeom>
        </p:spPr>
        <p:txBody>
          <a:bodyPr wrap="square" anchor="b" anchorCtr="0">
            <a:spAutoFit/>
          </a:bodyPr>
          <a:lstStyle>
            <a:lvl1pPr marL="0" indent="0" algn="r">
              <a:buNone/>
              <a:defRPr sz="700" b="1">
                <a:solidFill>
                  <a:schemeClr val="bg1"/>
                </a:solidFill>
              </a:defRPr>
            </a:lvl1pPr>
            <a:lvl2pPr marL="457185" indent="0">
              <a:buNone/>
              <a:defRPr sz="1400"/>
            </a:lvl2pPr>
            <a:lvl3pPr marL="914371" indent="0">
              <a:buNone/>
              <a:defRPr sz="1200"/>
            </a:lvl3pPr>
            <a:lvl4pPr marL="1371555" indent="0">
              <a:buNone/>
              <a:defRPr sz="1000"/>
            </a:lvl4pPr>
            <a:lvl5pPr marL="1828741" indent="0">
              <a:buNone/>
              <a:defRPr sz="1000"/>
            </a:lvl5pPr>
            <a:lvl6pPr marL="2285926" indent="0">
              <a:buNone/>
              <a:defRPr sz="1000"/>
            </a:lvl6pPr>
            <a:lvl7pPr marL="2743110" indent="0">
              <a:buNone/>
              <a:defRPr sz="1000"/>
            </a:lvl7pPr>
            <a:lvl8pPr marL="3200296" indent="0">
              <a:buNone/>
              <a:defRPr sz="1000"/>
            </a:lvl8pPr>
            <a:lvl9pPr marL="3657481" indent="0">
              <a:buNone/>
              <a:defRPr sz="1000"/>
            </a:lvl9pPr>
          </a:lstStyle>
          <a:p>
            <a:pPr lvl="0"/>
            <a:r>
              <a:rPr lang="en-GB" dirty="0"/>
              <a:t>Source: Insert Source here</a:t>
            </a:r>
          </a:p>
        </p:txBody>
      </p:sp>
    </p:spTree>
    <p:extLst>
      <p:ext uri="{BB962C8B-B14F-4D97-AF65-F5344CB8AC3E}">
        <p14:creationId xmlns:p14="http://schemas.microsoft.com/office/powerpoint/2010/main" val="122814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amp; Content Op 1">
    <p:spTree>
      <p:nvGrpSpPr>
        <p:cNvPr id="1" name=""/>
        <p:cNvGrpSpPr/>
        <p:nvPr/>
      </p:nvGrpSpPr>
      <p:grpSpPr>
        <a:xfrm>
          <a:off x="0" y="0"/>
          <a:ext cx="0" cy="0"/>
          <a:chOff x="0" y="0"/>
          <a:chExt cx="0" cy="0"/>
        </a:xfrm>
      </p:grpSpPr>
      <p:sp>
        <p:nvSpPr>
          <p:cNvPr id="15" name="Snip Diagonal Corner Rectangle 14"/>
          <p:cNvSpPr/>
          <p:nvPr userDrawn="1"/>
        </p:nvSpPr>
        <p:spPr>
          <a:xfrm flipH="1" flipV="1">
            <a:off x="711312" y="2209800"/>
            <a:ext cx="5873405" cy="1341120"/>
          </a:xfrm>
          <a:prstGeom prst="snip2DiagRect">
            <a:avLst>
              <a:gd name="adj1" fmla="val 0"/>
              <a:gd name="adj2" fmla="val 8863"/>
            </a:avLst>
          </a:prstGeom>
          <a:solidFill>
            <a:srgbClr val="FB3449"/>
          </a:solidFill>
          <a:ln w="254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16" name="Snip Diagonal Corner Rectangle 15"/>
          <p:cNvSpPr/>
          <p:nvPr userDrawn="1"/>
        </p:nvSpPr>
        <p:spPr>
          <a:xfrm flipH="1" flipV="1">
            <a:off x="6891253" y="3764279"/>
            <a:ext cx="4093437" cy="2705100"/>
          </a:xfrm>
          <a:prstGeom prst="snip2DiagRect">
            <a:avLst>
              <a:gd name="adj1" fmla="val 0"/>
              <a:gd name="adj2" fmla="val 4618"/>
            </a:avLst>
          </a:prstGeom>
          <a:solidFill>
            <a:srgbClr val="FB3449"/>
          </a:solidFill>
          <a:ln w="254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624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6" name="Snip Diagonal Corner Rectangle 5"/>
          <p:cNvSpPr/>
          <p:nvPr userDrawn="1"/>
        </p:nvSpPr>
        <p:spPr>
          <a:xfrm flipH="1">
            <a:off x="6879403" y="1577340"/>
            <a:ext cx="5507587" cy="1973580"/>
          </a:xfrm>
          <a:prstGeom prst="snip2DiagRect">
            <a:avLst>
              <a:gd name="adj1" fmla="val 0"/>
              <a:gd name="adj2" fmla="val 6590"/>
            </a:avLst>
          </a:prstGeom>
          <a:no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14" name="Snip Diagonal Corner Rectangle 13"/>
          <p:cNvSpPr/>
          <p:nvPr userDrawn="1"/>
        </p:nvSpPr>
        <p:spPr>
          <a:xfrm flipH="1">
            <a:off x="1412463" y="3764280"/>
            <a:ext cx="5172254" cy="1973580"/>
          </a:xfrm>
          <a:prstGeom prst="snip2DiagRect">
            <a:avLst>
              <a:gd name="adj1" fmla="val 0"/>
              <a:gd name="adj2" fmla="val 6590"/>
            </a:avLst>
          </a:prstGeom>
          <a:no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17" name="Oval 16"/>
          <p:cNvSpPr/>
          <p:nvPr userDrawn="1"/>
        </p:nvSpPr>
        <p:spPr>
          <a:xfrm>
            <a:off x="7163928" y="1314450"/>
            <a:ext cx="665585" cy="499110"/>
          </a:xfrm>
          <a:prstGeom prst="ellipse">
            <a:avLst/>
          </a:prstGeom>
          <a:solidFill>
            <a:srgbClr val="FFFFFF"/>
          </a:solid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18" name="Text Placeholder 2"/>
          <p:cNvSpPr>
            <a:spLocks noGrp="1"/>
          </p:cNvSpPr>
          <p:nvPr>
            <p:ph type="body" idx="1" hasCustomPrompt="1"/>
          </p:nvPr>
        </p:nvSpPr>
        <p:spPr>
          <a:xfrm>
            <a:off x="7152286" y="1445190"/>
            <a:ext cx="688871" cy="243656"/>
          </a:xfrm>
          <a:prstGeom prst="rect">
            <a:avLst/>
          </a:prstGeom>
        </p:spPr>
        <p:txBody>
          <a:bodyPr wrap="square" anchor="ctr" anchorCtr="0">
            <a:spAutoFit/>
          </a:bodyPr>
          <a:lstStyle>
            <a:lvl1pPr marL="0" indent="0" algn="ctr">
              <a:buNone/>
              <a:defRPr sz="2000" b="1">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20" name="Oval 19"/>
          <p:cNvSpPr/>
          <p:nvPr userDrawn="1"/>
        </p:nvSpPr>
        <p:spPr>
          <a:xfrm>
            <a:off x="3106909" y="1940877"/>
            <a:ext cx="665585" cy="499110"/>
          </a:xfrm>
          <a:prstGeom prst="ellipse">
            <a:avLst/>
          </a:prstGeom>
          <a:solidFill>
            <a:srgbClr val="FFFFFF"/>
          </a:solid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21" name="Text Placeholder 2"/>
          <p:cNvSpPr>
            <a:spLocks noGrp="1"/>
          </p:cNvSpPr>
          <p:nvPr>
            <p:ph type="body" idx="10" hasCustomPrompt="1"/>
          </p:nvPr>
        </p:nvSpPr>
        <p:spPr>
          <a:xfrm>
            <a:off x="3095267" y="2071617"/>
            <a:ext cx="688871" cy="243656"/>
          </a:xfrm>
          <a:prstGeom prst="rect">
            <a:avLst/>
          </a:prstGeom>
        </p:spPr>
        <p:txBody>
          <a:bodyPr wrap="square" anchor="ctr" anchorCtr="0">
            <a:spAutoFit/>
          </a:bodyPr>
          <a:lstStyle>
            <a:lvl1pPr marL="0" indent="0" algn="ctr">
              <a:buNone/>
              <a:defRPr sz="2000" b="1">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22" name="Oval 21"/>
          <p:cNvSpPr/>
          <p:nvPr userDrawn="1"/>
        </p:nvSpPr>
        <p:spPr>
          <a:xfrm>
            <a:off x="1079670" y="4538472"/>
            <a:ext cx="665585" cy="499110"/>
          </a:xfrm>
          <a:prstGeom prst="ellipse">
            <a:avLst/>
          </a:prstGeom>
          <a:solidFill>
            <a:srgbClr val="FFFFFF"/>
          </a:solid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23" name="Text Placeholder 2"/>
          <p:cNvSpPr>
            <a:spLocks noGrp="1"/>
          </p:cNvSpPr>
          <p:nvPr>
            <p:ph type="body" idx="11" hasCustomPrompt="1"/>
          </p:nvPr>
        </p:nvSpPr>
        <p:spPr>
          <a:xfrm>
            <a:off x="1068028" y="4637961"/>
            <a:ext cx="688871" cy="243656"/>
          </a:xfrm>
          <a:prstGeom prst="rect">
            <a:avLst/>
          </a:prstGeom>
        </p:spPr>
        <p:txBody>
          <a:bodyPr wrap="square" anchor="ctr" anchorCtr="0">
            <a:spAutoFit/>
          </a:bodyPr>
          <a:lstStyle>
            <a:lvl1pPr marL="0" indent="0" algn="ctr">
              <a:buNone/>
              <a:defRPr sz="2000" b="1">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24" name="Oval 23"/>
          <p:cNvSpPr/>
          <p:nvPr userDrawn="1"/>
        </p:nvSpPr>
        <p:spPr>
          <a:xfrm>
            <a:off x="10629034" y="4507230"/>
            <a:ext cx="665585" cy="499110"/>
          </a:xfrm>
          <a:prstGeom prst="ellipse">
            <a:avLst/>
          </a:prstGeom>
          <a:solidFill>
            <a:srgbClr val="FFFFFF"/>
          </a:solid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25" name="Text Placeholder 2"/>
          <p:cNvSpPr>
            <a:spLocks noGrp="1"/>
          </p:cNvSpPr>
          <p:nvPr>
            <p:ph type="body" idx="12" hasCustomPrompt="1"/>
          </p:nvPr>
        </p:nvSpPr>
        <p:spPr>
          <a:xfrm>
            <a:off x="10617392" y="4637971"/>
            <a:ext cx="688871" cy="243656"/>
          </a:xfrm>
          <a:prstGeom prst="rect">
            <a:avLst/>
          </a:prstGeom>
        </p:spPr>
        <p:txBody>
          <a:bodyPr wrap="square" anchor="ctr" anchorCtr="0">
            <a:spAutoFit/>
          </a:bodyPr>
          <a:lstStyle>
            <a:lvl1pPr marL="0" indent="0" algn="ctr">
              <a:buNone/>
              <a:defRPr sz="2000" b="1">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26" name="Text Placeholder 2"/>
          <p:cNvSpPr>
            <a:spLocks noGrp="1"/>
          </p:cNvSpPr>
          <p:nvPr>
            <p:ph type="body" idx="13" hasCustomPrompt="1"/>
          </p:nvPr>
        </p:nvSpPr>
        <p:spPr>
          <a:xfrm>
            <a:off x="1971352" y="4797883"/>
            <a:ext cx="4176416" cy="381756"/>
          </a:xfrm>
          <a:prstGeom prst="rect">
            <a:avLst/>
          </a:prstGeom>
        </p:spPr>
        <p:txBody>
          <a:bodyPr wrap="square" anchor="ctr" anchorCtr="0">
            <a:spAutoFit/>
          </a:bodyPr>
          <a:lstStyle>
            <a:lvl1pPr marL="0" indent="0" algn="ctr">
              <a:lnSpc>
                <a:spcPts val="3000"/>
              </a:lnSpc>
              <a:buNone/>
              <a:defRPr sz="2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27" name="Text Placeholder 2"/>
          <p:cNvSpPr>
            <a:spLocks noGrp="1"/>
          </p:cNvSpPr>
          <p:nvPr>
            <p:ph type="body" idx="14" hasCustomPrompt="1"/>
          </p:nvPr>
        </p:nvSpPr>
        <p:spPr>
          <a:xfrm>
            <a:off x="7555152" y="2609472"/>
            <a:ext cx="4176416" cy="381756"/>
          </a:xfrm>
          <a:prstGeom prst="rect">
            <a:avLst/>
          </a:prstGeom>
        </p:spPr>
        <p:txBody>
          <a:bodyPr wrap="square" anchor="ctr" anchorCtr="0">
            <a:spAutoFit/>
          </a:bodyPr>
          <a:lstStyle>
            <a:lvl1pPr marL="0" indent="0" algn="ctr">
              <a:lnSpc>
                <a:spcPts val="3000"/>
              </a:lnSpc>
              <a:buNone/>
              <a:defRPr sz="2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29" name="Text Placeholder 2"/>
          <p:cNvSpPr>
            <a:spLocks noGrp="1"/>
          </p:cNvSpPr>
          <p:nvPr>
            <p:ph type="body" idx="15" hasCustomPrompt="1"/>
          </p:nvPr>
        </p:nvSpPr>
        <p:spPr>
          <a:xfrm>
            <a:off x="7169853" y="5646120"/>
            <a:ext cx="3536237" cy="384721"/>
          </a:xfrm>
          <a:prstGeom prst="rect">
            <a:avLst/>
          </a:prstGeom>
        </p:spPr>
        <p:txBody>
          <a:bodyPr wrap="square" anchor="t" anchorCtr="0">
            <a:spAutoFit/>
          </a:bodyPr>
          <a:lstStyle>
            <a:lvl1pPr marL="0" indent="0" algn="ctr">
              <a:lnSpc>
                <a:spcPts val="3000"/>
              </a:lnSpc>
              <a:buNone/>
              <a:defRPr sz="30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31" name="Text Placeholder 2"/>
          <p:cNvSpPr>
            <a:spLocks noGrp="1"/>
          </p:cNvSpPr>
          <p:nvPr>
            <p:ph type="body" idx="16" hasCustomPrompt="1"/>
          </p:nvPr>
        </p:nvSpPr>
        <p:spPr>
          <a:xfrm>
            <a:off x="7169853" y="3981708"/>
            <a:ext cx="3536237" cy="1815882"/>
          </a:xfrm>
          <a:prstGeom prst="rect">
            <a:avLst/>
          </a:prstGeom>
        </p:spPr>
        <p:txBody>
          <a:bodyPr wrap="square" anchor="t" anchorCtr="0">
            <a:spAutoFit/>
          </a:bodyPr>
          <a:lstStyle>
            <a:lvl1pPr marL="0" indent="0" algn="ctr">
              <a:lnSpc>
                <a:spcPct val="100000"/>
              </a:lnSpc>
              <a:buNone/>
              <a:defRPr sz="118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32" name="Text Placeholder 2"/>
          <p:cNvSpPr>
            <a:spLocks noGrp="1"/>
          </p:cNvSpPr>
          <p:nvPr>
            <p:ph type="body" idx="17" hasCustomPrompt="1"/>
          </p:nvPr>
        </p:nvSpPr>
        <p:spPr>
          <a:xfrm>
            <a:off x="782443" y="2666860"/>
            <a:ext cx="5731142" cy="430887"/>
          </a:xfrm>
          <a:prstGeom prst="rect">
            <a:avLst/>
          </a:prstGeom>
        </p:spPr>
        <p:txBody>
          <a:bodyPr wrap="square" anchor="ctr" anchorCtr="0">
            <a:spAutoFit/>
          </a:bodyPr>
          <a:lstStyle>
            <a:lvl1pPr marL="0" indent="0" algn="ctr">
              <a:lnSpc>
                <a:spcPct val="100000"/>
              </a:lnSpc>
              <a:buNone/>
              <a:defRPr sz="28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28" name="Text Placeholder 3"/>
          <p:cNvSpPr>
            <a:spLocks noGrp="1"/>
          </p:cNvSpPr>
          <p:nvPr>
            <p:ph type="body" sz="half" idx="2" hasCustomPrompt="1"/>
          </p:nvPr>
        </p:nvSpPr>
        <p:spPr>
          <a:xfrm>
            <a:off x="5864253" y="7019712"/>
            <a:ext cx="7152151" cy="243656"/>
          </a:xfrm>
          <a:prstGeom prst="rect">
            <a:avLst/>
          </a:prstGeom>
        </p:spPr>
        <p:txBody>
          <a:bodyPr wrap="square" anchor="b" anchorCtr="0">
            <a:spAutoFit/>
          </a:bodyPr>
          <a:lstStyle>
            <a:lvl1pPr marL="0" indent="0" algn="r">
              <a:buNone/>
              <a:defRPr sz="800" b="1">
                <a:solidFill>
                  <a:schemeClr val="bg1"/>
                </a:solidFill>
              </a:defRPr>
            </a:lvl1pPr>
            <a:lvl2pPr marL="457185" indent="0">
              <a:buNone/>
              <a:defRPr sz="1400"/>
            </a:lvl2pPr>
            <a:lvl3pPr marL="914371" indent="0">
              <a:buNone/>
              <a:defRPr sz="1200"/>
            </a:lvl3pPr>
            <a:lvl4pPr marL="1371555" indent="0">
              <a:buNone/>
              <a:defRPr sz="1000"/>
            </a:lvl4pPr>
            <a:lvl5pPr marL="1828741" indent="0">
              <a:buNone/>
              <a:defRPr sz="1000"/>
            </a:lvl5pPr>
            <a:lvl6pPr marL="2285926" indent="0">
              <a:buNone/>
              <a:defRPr sz="1000"/>
            </a:lvl6pPr>
            <a:lvl7pPr marL="2743110" indent="0">
              <a:buNone/>
              <a:defRPr sz="1000"/>
            </a:lvl7pPr>
            <a:lvl8pPr marL="3200296" indent="0">
              <a:buNone/>
              <a:defRPr sz="1000"/>
            </a:lvl8pPr>
            <a:lvl9pPr marL="3657481" indent="0">
              <a:buNone/>
              <a:defRPr sz="1000"/>
            </a:lvl9pPr>
          </a:lstStyle>
          <a:p>
            <a:pPr lvl="0"/>
            <a:r>
              <a:rPr lang="en-GB" dirty="0"/>
              <a:t>Source: Insert Source here</a:t>
            </a:r>
          </a:p>
        </p:txBody>
      </p:sp>
    </p:spTree>
    <p:extLst>
      <p:ext uri="{BB962C8B-B14F-4D97-AF65-F5344CB8AC3E}">
        <p14:creationId xmlns:p14="http://schemas.microsoft.com/office/powerpoint/2010/main" val="1269199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9" name="Picture Placeholder 10"/>
          <p:cNvSpPr>
            <a:spLocks noGrp="1"/>
          </p:cNvSpPr>
          <p:nvPr>
            <p:ph type="pic" sz="quarter" idx="16"/>
          </p:nvPr>
        </p:nvSpPr>
        <p:spPr bwMode="gray">
          <a:xfrm>
            <a:off x="1" y="1"/>
            <a:ext cx="13442950" cy="6789090"/>
          </a:xfrm>
          <a:prstGeom prst="rect">
            <a:avLst/>
          </a:prstGeom>
          <a:solidFill>
            <a:schemeClr val="accent5"/>
          </a:solidFill>
          <a:ln>
            <a:noFill/>
          </a:ln>
        </p:spPr>
        <p:txBody>
          <a:bodyPr tIns="1440000" anchor="t"/>
          <a:lstStyle>
            <a:lvl1pPr algn="ctr">
              <a:buNone/>
              <a:defRPr>
                <a:solidFill>
                  <a:srgbClr val="000000"/>
                </a:solidFill>
              </a:defRPr>
            </a:lvl1pPr>
          </a:lstStyle>
          <a:p>
            <a:r>
              <a:rPr lang="en-US" dirty="0"/>
              <a:t>Click icon to add picture</a:t>
            </a:r>
          </a:p>
        </p:txBody>
      </p:sp>
      <p:sp>
        <p:nvSpPr>
          <p:cNvPr id="2" name="Title 1"/>
          <p:cNvSpPr>
            <a:spLocks noGrp="1"/>
          </p:cNvSpPr>
          <p:nvPr>
            <p:ph type="title" hasCustomPrompt="1"/>
          </p:nvPr>
        </p:nvSpPr>
        <p:spPr>
          <a:xfrm>
            <a:off x="2794440" y="3076073"/>
            <a:ext cx="7407808" cy="1261994"/>
          </a:xfrm>
        </p:spPr>
        <p:txBody>
          <a:bodyPr anchor="t" anchorCtr="0"/>
          <a:lstStyle>
            <a:lvl1pPr algn="r">
              <a:defRPr sz="10400">
                <a:solidFill>
                  <a:srgbClr val="FFFFFF"/>
                </a:solidFill>
              </a:defRPr>
            </a:lvl1pPr>
          </a:lstStyle>
          <a:p>
            <a:r>
              <a:rPr lang="en-GB"/>
              <a:t>Title text</a:t>
            </a:r>
            <a:endParaRPr lang="en-US" dirty="0"/>
          </a:p>
        </p:txBody>
      </p:sp>
      <p:sp>
        <p:nvSpPr>
          <p:cNvPr id="3" name="Text Placeholder 2"/>
          <p:cNvSpPr>
            <a:spLocks noGrp="1"/>
          </p:cNvSpPr>
          <p:nvPr>
            <p:ph type="body" idx="1" hasCustomPrompt="1"/>
          </p:nvPr>
        </p:nvSpPr>
        <p:spPr>
          <a:xfrm>
            <a:off x="2794439" y="2960728"/>
            <a:ext cx="7346839" cy="407313"/>
          </a:xfrm>
          <a:prstGeom prst="rect">
            <a:avLst/>
          </a:prstGeom>
        </p:spPr>
        <p:txBody>
          <a:bodyPr anchor="t" anchorCtr="0"/>
          <a:lstStyle>
            <a:lvl1pPr marL="0" indent="0" algn="r">
              <a:buNone/>
              <a:defRPr sz="2199" b="1" cap="all" baseline="0">
                <a:solidFill>
                  <a:srgbClr val="FFFFFF"/>
                </a:solidFill>
                <a:latin typeface="Impact" charset="0"/>
                <a:ea typeface="Impact" charset="0"/>
                <a:cs typeface="Impact" charset="0"/>
              </a:defRPr>
            </a:lvl1pPr>
            <a:lvl2pPr marL="378001" indent="0">
              <a:buNone/>
              <a:defRPr sz="1654">
                <a:solidFill>
                  <a:schemeClr val="tx1">
                    <a:tint val="75000"/>
                  </a:schemeClr>
                </a:solidFill>
              </a:defRPr>
            </a:lvl2pPr>
            <a:lvl3pPr marL="756002" indent="0">
              <a:buNone/>
              <a:defRPr sz="1488">
                <a:solidFill>
                  <a:schemeClr val="tx1">
                    <a:tint val="75000"/>
                  </a:schemeClr>
                </a:solidFill>
              </a:defRPr>
            </a:lvl3pPr>
            <a:lvl4pPr marL="1134002" indent="0">
              <a:buNone/>
              <a:defRPr sz="1323">
                <a:solidFill>
                  <a:schemeClr val="tx1">
                    <a:tint val="75000"/>
                  </a:schemeClr>
                </a:solidFill>
              </a:defRPr>
            </a:lvl4pPr>
            <a:lvl5pPr marL="1512003" indent="0">
              <a:buNone/>
              <a:defRPr sz="1323">
                <a:solidFill>
                  <a:schemeClr val="tx1">
                    <a:tint val="75000"/>
                  </a:schemeClr>
                </a:solidFill>
              </a:defRPr>
            </a:lvl5pPr>
            <a:lvl6pPr marL="1890004" indent="0">
              <a:buNone/>
              <a:defRPr sz="1323">
                <a:solidFill>
                  <a:schemeClr val="tx1">
                    <a:tint val="75000"/>
                  </a:schemeClr>
                </a:solidFill>
              </a:defRPr>
            </a:lvl6pPr>
            <a:lvl7pPr marL="2268005" indent="0">
              <a:buNone/>
              <a:defRPr sz="1323">
                <a:solidFill>
                  <a:schemeClr val="tx1">
                    <a:tint val="75000"/>
                  </a:schemeClr>
                </a:solidFill>
              </a:defRPr>
            </a:lvl7pPr>
            <a:lvl8pPr marL="2646006" indent="0">
              <a:buNone/>
              <a:defRPr sz="1323">
                <a:solidFill>
                  <a:schemeClr val="tx1">
                    <a:tint val="75000"/>
                  </a:schemeClr>
                </a:solidFill>
              </a:defRPr>
            </a:lvl8pPr>
            <a:lvl9pPr marL="3024005" indent="0">
              <a:buNone/>
              <a:defRPr sz="1323">
                <a:solidFill>
                  <a:schemeClr val="tx1">
                    <a:tint val="75000"/>
                  </a:schemeClr>
                </a:solidFill>
              </a:defRPr>
            </a:lvl9pPr>
          </a:lstStyle>
          <a:p>
            <a:pPr lvl="0"/>
            <a:r>
              <a:rPr lang="en-GB" dirty="0"/>
              <a:t>Text</a:t>
            </a:r>
          </a:p>
        </p:txBody>
      </p:sp>
    </p:spTree>
    <p:extLst>
      <p:ext uri="{BB962C8B-B14F-4D97-AF65-F5344CB8AC3E}">
        <p14:creationId xmlns:p14="http://schemas.microsoft.com/office/powerpoint/2010/main" val="1846110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Title &amp; Content Op 3">
    <p:spTree>
      <p:nvGrpSpPr>
        <p:cNvPr id="1" name=""/>
        <p:cNvGrpSpPr/>
        <p:nvPr/>
      </p:nvGrpSpPr>
      <p:grpSpPr>
        <a:xfrm>
          <a:off x="0" y="0"/>
          <a:ext cx="0" cy="0"/>
          <a:chOff x="0" y="0"/>
          <a:chExt cx="0" cy="0"/>
        </a:xfrm>
      </p:grpSpPr>
      <p:sp>
        <p:nvSpPr>
          <p:cNvPr id="5" name="Oval 4"/>
          <p:cNvSpPr/>
          <p:nvPr userDrawn="1"/>
        </p:nvSpPr>
        <p:spPr>
          <a:xfrm>
            <a:off x="4200681" y="1786300"/>
            <a:ext cx="1872015" cy="1403790"/>
          </a:xfrm>
          <a:prstGeom prst="ellipse">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29" name="Oval 28"/>
          <p:cNvSpPr/>
          <p:nvPr userDrawn="1"/>
        </p:nvSpPr>
        <p:spPr>
          <a:xfrm>
            <a:off x="10541520" y="1786300"/>
            <a:ext cx="1872015" cy="1403790"/>
          </a:xfrm>
          <a:prstGeom prst="ellipse">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31" name="Oval 30"/>
          <p:cNvSpPr/>
          <p:nvPr userDrawn="1"/>
        </p:nvSpPr>
        <p:spPr>
          <a:xfrm>
            <a:off x="7371101" y="1786300"/>
            <a:ext cx="1872015" cy="1403790"/>
          </a:xfrm>
          <a:prstGeom prst="ellipse">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726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1" name="Text Placeholder 3"/>
          <p:cNvSpPr>
            <a:spLocks noGrp="1"/>
          </p:cNvSpPr>
          <p:nvPr>
            <p:ph type="body" sz="half" idx="2" hasCustomPrompt="1"/>
          </p:nvPr>
        </p:nvSpPr>
        <p:spPr>
          <a:xfrm>
            <a:off x="5864253" y="6992186"/>
            <a:ext cx="7152151" cy="243656"/>
          </a:xfrm>
          <a:prstGeom prst="rect">
            <a:avLst/>
          </a:prstGeom>
        </p:spPr>
        <p:txBody>
          <a:bodyPr wrap="square" anchor="b" anchorCtr="0">
            <a:spAutoFit/>
          </a:bodyPr>
          <a:lstStyle>
            <a:lvl1pPr marL="0" indent="0" algn="r">
              <a:buNone/>
              <a:defRPr sz="700" b="1">
                <a:solidFill>
                  <a:schemeClr val="bg1"/>
                </a:solidFill>
              </a:defRPr>
            </a:lvl1pPr>
            <a:lvl2pPr marL="457185" indent="0">
              <a:buNone/>
              <a:defRPr sz="1400"/>
            </a:lvl2pPr>
            <a:lvl3pPr marL="914371" indent="0">
              <a:buNone/>
              <a:defRPr sz="1200"/>
            </a:lvl3pPr>
            <a:lvl4pPr marL="1371555" indent="0">
              <a:buNone/>
              <a:defRPr sz="1000"/>
            </a:lvl4pPr>
            <a:lvl5pPr marL="1828741" indent="0">
              <a:buNone/>
              <a:defRPr sz="1000"/>
            </a:lvl5pPr>
            <a:lvl6pPr marL="2285926" indent="0">
              <a:buNone/>
              <a:defRPr sz="1000"/>
            </a:lvl6pPr>
            <a:lvl7pPr marL="2743110" indent="0">
              <a:buNone/>
              <a:defRPr sz="1000"/>
            </a:lvl7pPr>
            <a:lvl8pPr marL="3200296" indent="0">
              <a:buNone/>
              <a:defRPr sz="1000"/>
            </a:lvl8pPr>
            <a:lvl9pPr marL="3657481" indent="0">
              <a:buNone/>
              <a:defRPr sz="1000"/>
            </a:lvl9pPr>
          </a:lstStyle>
          <a:p>
            <a:pPr lvl="0"/>
            <a:r>
              <a:rPr lang="en-GB" dirty="0"/>
              <a:t>Source: Insert Source here</a:t>
            </a:r>
          </a:p>
        </p:txBody>
      </p:sp>
      <p:sp>
        <p:nvSpPr>
          <p:cNvPr id="18" name="Text Placeholder 13"/>
          <p:cNvSpPr>
            <a:spLocks noGrp="1"/>
          </p:cNvSpPr>
          <p:nvPr>
            <p:ph type="body" sz="quarter" idx="14" hasCustomPrompt="1"/>
          </p:nvPr>
        </p:nvSpPr>
        <p:spPr bwMode="gray">
          <a:xfrm>
            <a:off x="363209" y="812746"/>
            <a:ext cx="12423740" cy="436608"/>
          </a:xfrm>
          <a:prstGeom prst="rect">
            <a:avLst/>
          </a:prstGeom>
        </p:spPr>
        <p:txBody>
          <a:bodyPr lIns="0"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20" name="Content Placeholder 2"/>
          <p:cNvSpPr>
            <a:spLocks noGrp="1"/>
          </p:cNvSpPr>
          <p:nvPr>
            <p:ph idx="1" hasCustomPrompt="1"/>
          </p:nvPr>
        </p:nvSpPr>
        <p:spPr bwMode="gray">
          <a:xfrm>
            <a:off x="4034155" y="2192725"/>
            <a:ext cx="2203194" cy="601147"/>
          </a:xfrm>
          <a:prstGeom prst="rect">
            <a:avLst/>
          </a:prstGeom>
        </p:spPr>
        <p:txBody>
          <a:bodyPr anchor="ctr" anchorCtr="0"/>
          <a:lstStyle>
            <a:lvl1pPr algn="ctr">
              <a:lnSpc>
                <a:spcPts val="2199"/>
              </a:lnSpc>
              <a:defRPr sz="2199" cap="all" baseline="0">
                <a:solidFill>
                  <a:srgbClr val="FFFFFF"/>
                </a:solidFill>
                <a:latin typeface="Impact" charset="0"/>
                <a:ea typeface="Impact" charset="0"/>
                <a:cs typeface="Impact" charset="0"/>
              </a:defRPr>
            </a:lvl1pPr>
            <a:lvl2pPr algn="ctr">
              <a:lnSpc>
                <a:spcPct val="100000"/>
              </a:lnSpc>
              <a:defRPr sz="900" b="0">
                <a:solidFill>
                  <a:srgbClr val="FFFFFF"/>
                </a:solidFill>
              </a:defRPr>
            </a:lvl2pPr>
            <a:lvl3pPr>
              <a:lnSpc>
                <a:spcPts val="1501"/>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Text level 1</a:t>
            </a:r>
          </a:p>
          <a:p>
            <a:pPr lvl="1"/>
            <a:r>
              <a:rPr lang="en-US" dirty="0"/>
              <a:t>Text Level 2</a:t>
            </a:r>
          </a:p>
        </p:txBody>
      </p:sp>
      <p:cxnSp>
        <p:nvCxnSpPr>
          <p:cNvPr id="22" name="Straight Connector 21"/>
          <p:cNvCxnSpPr/>
          <p:nvPr userDrawn="1"/>
        </p:nvCxnSpPr>
        <p:spPr>
          <a:xfrm>
            <a:off x="5126527" y="3343344"/>
            <a:ext cx="0" cy="1981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8296946" y="3343344"/>
            <a:ext cx="0" cy="1981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11467366" y="3343344"/>
            <a:ext cx="0" cy="1981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2" name="Content Placeholder 2"/>
          <p:cNvSpPr>
            <a:spLocks noGrp="1"/>
          </p:cNvSpPr>
          <p:nvPr>
            <p:ph idx="15" hasCustomPrompt="1"/>
          </p:nvPr>
        </p:nvSpPr>
        <p:spPr bwMode="gray">
          <a:xfrm>
            <a:off x="7194412" y="2192725"/>
            <a:ext cx="2203194" cy="601147"/>
          </a:xfrm>
          <a:prstGeom prst="rect">
            <a:avLst/>
          </a:prstGeom>
        </p:spPr>
        <p:txBody>
          <a:bodyPr anchor="ctr" anchorCtr="0"/>
          <a:lstStyle>
            <a:lvl1pPr algn="ctr">
              <a:lnSpc>
                <a:spcPts val="2199"/>
              </a:lnSpc>
              <a:defRPr sz="2199" cap="all" baseline="0">
                <a:solidFill>
                  <a:srgbClr val="FFFFFF"/>
                </a:solidFill>
                <a:latin typeface="Impact" charset="0"/>
                <a:ea typeface="Impact" charset="0"/>
                <a:cs typeface="Impact" charset="0"/>
              </a:defRPr>
            </a:lvl1pPr>
            <a:lvl2pPr algn="ctr">
              <a:lnSpc>
                <a:spcPct val="100000"/>
              </a:lnSpc>
              <a:defRPr sz="900" b="0">
                <a:solidFill>
                  <a:srgbClr val="FFFFFF"/>
                </a:solidFill>
              </a:defRPr>
            </a:lvl2pPr>
            <a:lvl3pPr>
              <a:lnSpc>
                <a:spcPts val="1501"/>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Text level 1</a:t>
            </a:r>
          </a:p>
          <a:p>
            <a:pPr lvl="1"/>
            <a:r>
              <a:rPr lang="en-US" dirty="0"/>
              <a:t>Text Level 2</a:t>
            </a:r>
          </a:p>
        </p:txBody>
      </p:sp>
      <p:sp>
        <p:nvSpPr>
          <p:cNvPr id="33" name="Content Placeholder 2"/>
          <p:cNvSpPr>
            <a:spLocks noGrp="1"/>
          </p:cNvSpPr>
          <p:nvPr>
            <p:ph idx="16" hasCustomPrompt="1"/>
          </p:nvPr>
        </p:nvSpPr>
        <p:spPr bwMode="gray">
          <a:xfrm>
            <a:off x="10364831" y="2192725"/>
            <a:ext cx="2203194" cy="601147"/>
          </a:xfrm>
          <a:prstGeom prst="rect">
            <a:avLst/>
          </a:prstGeom>
        </p:spPr>
        <p:txBody>
          <a:bodyPr anchor="ctr" anchorCtr="0"/>
          <a:lstStyle>
            <a:lvl1pPr algn="ctr">
              <a:lnSpc>
                <a:spcPts val="1800"/>
              </a:lnSpc>
              <a:defRPr sz="1800" cap="all" baseline="0">
                <a:solidFill>
                  <a:srgbClr val="FFFFFF"/>
                </a:solidFill>
                <a:latin typeface="Impact" charset="0"/>
                <a:ea typeface="Impact" charset="0"/>
                <a:cs typeface="Impact" charset="0"/>
              </a:defRPr>
            </a:lvl1pPr>
            <a:lvl2pPr algn="ctr">
              <a:lnSpc>
                <a:spcPct val="100000"/>
              </a:lnSpc>
              <a:defRPr sz="900" b="0">
                <a:solidFill>
                  <a:srgbClr val="FFFFFF"/>
                </a:solidFill>
              </a:defRPr>
            </a:lvl2pPr>
            <a:lvl3pPr>
              <a:lnSpc>
                <a:spcPts val="1501"/>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Text level 1</a:t>
            </a:r>
          </a:p>
          <a:p>
            <a:pPr lvl="1"/>
            <a:r>
              <a:rPr lang="en-US" dirty="0"/>
              <a:t>Text Level 2</a:t>
            </a:r>
          </a:p>
        </p:txBody>
      </p:sp>
      <p:sp>
        <p:nvSpPr>
          <p:cNvPr id="34" name="Snip Diagonal Corner Rectangle 33"/>
          <p:cNvSpPr/>
          <p:nvPr userDrawn="1"/>
        </p:nvSpPr>
        <p:spPr>
          <a:xfrm flipH="1">
            <a:off x="528403" y="3678624"/>
            <a:ext cx="12366667" cy="525780"/>
          </a:xfrm>
          <a:prstGeom prst="snip2DiagRect">
            <a:avLst>
              <a:gd name="adj1" fmla="val 0"/>
              <a:gd name="adj2" fmla="val 25431"/>
            </a:avLst>
          </a:prstGeom>
          <a:noFill/>
          <a:ln w="25400">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39" name="Text Placeholder 2"/>
          <p:cNvSpPr>
            <a:spLocks noGrp="1"/>
          </p:cNvSpPr>
          <p:nvPr>
            <p:ph type="body" idx="17" hasCustomPrompt="1"/>
          </p:nvPr>
        </p:nvSpPr>
        <p:spPr>
          <a:xfrm>
            <a:off x="772281" y="3801402"/>
            <a:ext cx="3074901" cy="280226"/>
          </a:xfrm>
          <a:prstGeom prst="rect">
            <a:avLst/>
          </a:prstGeom>
          <a:noFill/>
        </p:spPr>
        <p:txBody>
          <a:bodyPr wrap="square" tIns="36000" bIns="36000" anchor="ctr" anchorCtr="0">
            <a:spAutoFit/>
          </a:bodyPr>
          <a:lstStyle>
            <a:lvl1pPr marL="0" indent="0" algn="l">
              <a:lnSpc>
                <a:spcPct val="100000"/>
              </a:lnSpc>
              <a:buNone/>
              <a:defRPr sz="1300" b="1" cap="all" baseline="0">
                <a:solidFill>
                  <a:schemeClr val="accent6"/>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41" name="Text Placeholder 2"/>
          <p:cNvSpPr>
            <a:spLocks noGrp="1"/>
          </p:cNvSpPr>
          <p:nvPr>
            <p:ph type="body" idx="18" hasCustomPrompt="1"/>
          </p:nvPr>
        </p:nvSpPr>
        <p:spPr>
          <a:xfrm>
            <a:off x="3710518" y="3762908"/>
            <a:ext cx="2845247" cy="357214"/>
          </a:xfrm>
          <a:prstGeom prst="rect">
            <a:avLst/>
          </a:prstGeom>
          <a:noFill/>
        </p:spPr>
        <p:txBody>
          <a:bodyPr wrap="square" tIns="36000" bIns="36000" anchor="ctr" anchorCtr="0">
            <a:spAutoFit/>
          </a:bodyPr>
          <a:lstStyle>
            <a:lvl1pPr marL="0" indent="0" algn="ctr">
              <a:lnSpc>
                <a:spcPct val="100000"/>
              </a:lnSpc>
              <a:buNone/>
              <a:defRPr sz="1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47" name="Text Placeholder 2"/>
          <p:cNvSpPr>
            <a:spLocks noGrp="1"/>
          </p:cNvSpPr>
          <p:nvPr>
            <p:ph type="body" idx="19" hasCustomPrompt="1"/>
          </p:nvPr>
        </p:nvSpPr>
        <p:spPr>
          <a:xfrm>
            <a:off x="6885041" y="3762908"/>
            <a:ext cx="2845247" cy="357214"/>
          </a:xfrm>
          <a:prstGeom prst="rect">
            <a:avLst/>
          </a:prstGeom>
          <a:noFill/>
        </p:spPr>
        <p:txBody>
          <a:bodyPr wrap="square" tIns="36000" bIns="36000" anchor="ctr" anchorCtr="0">
            <a:spAutoFit/>
          </a:bodyPr>
          <a:lstStyle>
            <a:lvl1pPr marL="0" indent="0" algn="ctr">
              <a:lnSpc>
                <a:spcPct val="100000"/>
              </a:lnSpc>
              <a:buNone/>
              <a:defRPr sz="1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a:t>text</a:t>
            </a:r>
            <a:endParaRPr lang="en-GB" dirty="0"/>
          </a:p>
        </p:txBody>
      </p:sp>
      <p:sp>
        <p:nvSpPr>
          <p:cNvPr id="48" name="Text Placeholder 2"/>
          <p:cNvSpPr>
            <a:spLocks noGrp="1"/>
          </p:cNvSpPr>
          <p:nvPr>
            <p:ph type="body" idx="20" hasCustomPrompt="1"/>
          </p:nvPr>
        </p:nvSpPr>
        <p:spPr>
          <a:xfrm>
            <a:off x="10059563" y="3762908"/>
            <a:ext cx="2845247" cy="357214"/>
          </a:xfrm>
          <a:prstGeom prst="rect">
            <a:avLst/>
          </a:prstGeom>
          <a:noFill/>
        </p:spPr>
        <p:txBody>
          <a:bodyPr wrap="square" tIns="36000" bIns="36000" anchor="ctr" anchorCtr="0">
            <a:spAutoFit/>
          </a:bodyPr>
          <a:lstStyle>
            <a:lvl1pPr marL="0" indent="0" algn="ctr">
              <a:lnSpc>
                <a:spcPct val="100000"/>
              </a:lnSpc>
              <a:buNone/>
              <a:defRPr sz="1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cxnSp>
        <p:nvCxnSpPr>
          <p:cNvPr id="49" name="Straight Connector 48"/>
          <p:cNvCxnSpPr/>
          <p:nvPr userDrawn="1"/>
        </p:nvCxnSpPr>
        <p:spPr>
          <a:xfrm>
            <a:off x="5126527" y="4326324"/>
            <a:ext cx="0" cy="1981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a:xfrm>
            <a:off x="8296946" y="4326324"/>
            <a:ext cx="0" cy="1981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a:xfrm>
            <a:off x="11467366" y="4326324"/>
            <a:ext cx="0" cy="1981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52" name="Snip Diagonal Corner Rectangle 51"/>
          <p:cNvSpPr/>
          <p:nvPr userDrawn="1"/>
        </p:nvSpPr>
        <p:spPr>
          <a:xfrm flipH="1">
            <a:off x="528403" y="4661604"/>
            <a:ext cx="12366667" cy="525780"/>
          </a:xfrm>
          <a:prstGeom prst="snip2DiagRect">
            <a:avLst>
              <a:gd name="adj1" fmla="val 0"/>
              <a:gd name="adj2" fmla="val 25431"/>
            </a:avLst>
          </a:prstGeom>
          <a:noFill/>
          <a:ln w="25400">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53" name="Text Placeholder 2"/>
          <p:cNvSpPr>
            <a:spLocks noGrp="1"/>
          </p:cNvSpPr>
          <p:nvPr>
            <p:ph type="body" idx="21" hasCustomPrompt="1"/>
          </p:nvPr>
        </p:nvSpPr>
        <p:spPr>
          <a:xfrm>
            <a:off x="772281" y="4784382"/>
            <a:ext cx="3074901" cy="280226"/>
          </a:xfrm>
          <a:prstGeom prst="rect">
            <a:avLst/>
          </a:prstGeom>
          <a:noFill/>
        </p:spPr>
        <p:txBody>
          <a:bodyPr wrap="square" tIns="36000" bIns="36000" anchor="ctr" anchorCtr="0">
            <a:spAutoFit/>
          </a:bodyPr>
          <a:lstStyle>
            <a:lvl1pPr marL="0" indent="0" algn="l">
              <a:lnSpc>
                <a:spcPct val="100000"/>
              </a:lnSpc>
              <a:buNone/>
              <a:defRPr sz="1300" b="1" cap="all" baseline="0">
                <a:solidFill>
                  <a:schemeClr val="accent6"/>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54" name="Text Placeholder 2"/>
          <p:cNvSpPr>
            <a:spLocks noGrp="1"/>
          </p:cNvSpPr>
          <p:nvPr>
            <p:ph type="body" idx="22" hasCustomPrompt="1"/>
          </p:nvPr>
        </p:nvSpPr>
        <p:spPr>
          <a:xfrm>
            <a:off x="3710518" y="4745888"/>
            <a:ext cx="2845247" cy="357214"/>
          </a:xfrm>
          <a:prstGeom prst="rect">
            <a:avLst/>
          </a:prstGeom>
          <a:noFill/>
        </p:spPr>
        <p:txBody>
          <a:bodyPr wrap="square" tIns="36000" bIns="36000" anchor="ctr" anchorCtr="0">
            <a:spAutoFit/>
          </a:bodyPr>
          <a:lstStyle>
            <a:lvl1pPr marL="0" indent="0" algn="ctr">
              <a:lnSpc>
                <a:spcPct val="100000"/>
              </a:lnSpc>
              <a:buNone/>
              <a:defRPr sz="1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55" name="Text Placeholder 2"/>
          <p:cNvSpPr>
            <a:spLocks noGrp="1"/>
          </p:cNvSpPr>
          <p:nvPr>
            <p:ph type="body" idx="23" hasCustomPrompt="1"/>
          </p:nvPr>
        </p:nvSpPr>
        <p:spPr>
          <a:xfrm>
            <a:off x="6885041" y="4745888"/>
            <a:ext cx="2845247" cy="357214"/>
          </a:xfrm>
          <a:prstGeom prst="rect">
            <a:avLst/>
          </a:prstGeom>
          <a:noFill/>
        </p:spPr>
        <p:txBody>
          <a:bodyPr wrap="square" tIns="36000" bIns="36000" anchor="ctr" anchorCtr="0">
            <a:spAutoFit/>
          </a:bodyPr>
          <a:lstStyle>
            <a:lvl1pPr marL="0" indent="0" algn="ctr">
              <a:lnSpc>
                <a:spcPct val="100000"/>
              </a:lnSpc>
              <a:buNone/>
              <a:defRPr sz="1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a:t>text</a:t>
            </a:r>
            <a:endParaRPr lang="en-GB" dirty="0"/>
          </a:p>
        </p:txBody>
      </p:sp>
      <p:sp>
        <p:nvSpPr>
          <p:cNvPr id="56" name="Text Placeholder 2"/>
          <p:cNvSpPr>
            <a:spLocks noGrp="1"/>
          </p:cNvSpPr>
          <p:nvPr>
            <p:ph type="body" idx="24" hasCustomPrompt="1"/>
          </p:nvPr>
        </p:nvSpPr>
        <p:spPr>
          <a:xfrm>
            <a:off x="10059563" y="4745888"/>
            <a:ext cx="2845247" cy="357214"/>
          </a:xfrm>
          <a:prstGeom prst="rect">
            <a:avLst/>
          </a:prstGeom>
          <a:noFill/>
        </p:spPr>
        <p:txBody>
          <a:bodyPr wrap="square" tIns="36000" bIns="36000" anchor="ctr" anchorCtr="0">
            <a:spAutoFit/>
          </a:bodyPr>
          <a:lstStyle>
            <a:lvl1pPr marL="0" indent="0" algn="ctr">
              <a:lnSpc>
                <a:spcPct val="100000"/>
              </a:lnSpc>
              <a:buNone/>
              <a:defRPr sz="1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Tree>
    <p:extLst>
      <p:ext uri="{BB962C8B-B14F-4D97-AF65-F5344CB8AC3E}">
        <p14:creationId xmlns:p14="http://schemas.microsoft.com/office/powerpoint/2010/main" val="3573697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itle &amp; Content Op 4">
    <p:spTree>
      <p:nvGrpSpPr>
        <p:cNvPr id="1" name=""/>
        <p:cNvGrpSpPr/>
        <p:nvPr/>
      </p:nvGrpSpPr>
      <p:grpSpPr>
        <a:xfrm>
          <a:off x="0" y="0"/>
          <a:ext cx="0" cy="0"/>
          <a:chOff x="0" y="0"/>
          <a:chExt cx="0" cy="0"/>
        </a:xfrm>
      </p:grpSpPr>
      <p:sp>
        <p:nvSpPr>
          <p:cNvPr id="15" name="Snip Diagonal Corner Rectangle 14"/>
          <p:cNvSpPr/>
          <p:nvPr userDrawn="1"/>
        </p:nvSpPr>
        <p:spPr>
          <a:xfrm flipH="1">
            <a:off x="1310847" y="5779381"/>
            <a:ext cx="10842427" cy="636660"/>
          </a:xfrm>
          <a:prstGeom prst="snip2DiagRect">
            <a:avLst>
              <a:gd name="adj1" fmla="val 0"/>
              <a:gd name="adj2" fmla="val 19635"/>
            </a:avLst>
          </a:prstGeom>
          <a:solidFill>
            <a:srgbClr val="FB3449"/>
          </a:solidFill>
          <a:ln w="254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828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1" name="Text Placeholder 3"/>
          <p:cNvSpPr>
            <a:spLocks noGrp="1"/>
          </p:cNvSpPr>
          <p:nvPr>
            <p:ph type="body" sz="half" idx="2" hasCustomPrompt="1"/>
          </p:nvPr>
        </p:nvSpPr>
        <p:spPr>
          <a:xfrm>
            <a:off x="5864253" y="6992186"/>
            <a:ext cx="7152151" cy="243656"/>
          </a:xfrm>
          <a:prstGeom prst="rect">
            <a:avLst/>
          </a:prstGeom>
        </p:spPr>
        <p:txBody>
          <a:bodyPr wrap="square" anchor="b" anchorCtr="0">
            <a:spAutoFit/>
          </a:bodyPr>
          <a:lstStyle>
            <a:lvl1pPr marL="0" indent="0" algn="r">
              <a:buNone/>
              <a:defRPr sz="700" b="1">
                <a:solidFill>
                  <a:schemeClr val="bg1"/>
                </a:solidFill>
              </a:defRPr>
            </a:lvl1pPr>
            <a:lvl2pPr marL="457185" indent="0">
              <a:buNone/>
              <a:defRPr sz="1400"/>
            </a:lvl2pPr>
            <a:lvl3pPr marL="914371" indent="0">
              <a:buNone/>
              <a:defRPr sz="1200"/>
            </a:lvl3pPr>
            <a:lvl4pPr marL="1371555" indent="0">
              <a:buNone/>
              <a:defRPr sz="1000"/>
            </a:lvl4pPr>
            <a:lvl5pPr marL="1828741" indent="0">
              <a:buNone/>
              <a:defRPr sz="1000"/>
            </a:lvl5pPr>
            <a:lvl6pPr marL="2285926" indent="0">
              <a:buNone/>
              <a:defRPr sz="1000"/>
            </a:lvl6pPr>
            <a:lvl7pPr marL="2743110" indent="0">
              <a:buNone/>
              <a:defRPr sz="1000"/>
            </a:lvl7pPr>
            <a:lvl8pPr marL="3200296" indent="0">
              <a:buNone/>
              <a:defRPr sz="1000"/>
            </a:lvl8pPr>
            <a:lvl9pPr marL="3657481" indent="0">
              <a:buNone/>
              <a:defRPr sz="1000"/>
            </a:lvl9pPr>
          </a:lstStyle>
          <a:p>
            <a:pPr lvl="0"/>
            <a:r>
              <a:rPr lang="en-GB" dirty="0"/>
              <a:t>Source: Insert Source here</a:t>
            </a:r>
          </a:p>
        </p:txBody>
      </p:sp>
      <p:sp>
        <p:nvSpPr>
          <p:cNvPr id="14" name="Snip Diagonal Corner Rectangle 13"/>
          <p:cNvSpPr/>
          <p:nvPr userDrawn="1"/>
        </p:nvSpPr>
        <p:spPr>
          <a:xfrm flipH="1">
            <a:off x="4095125" y="4488180"/>
            <a:ext cx="5273870" cy="716280"/>
          </a:xfrm>
          <a:prstGeom prst="snip2DiagRect">
            <a:avLst>
              <a:gd name="adj1" fmla="val 0"/>
              <a:gd name="adj2" fmla="val 19356"/>
            </a:avLst>
          </a:prstGeom>
          <a:noFill/>
          <a:ln w="25400">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28" name="Text Placeholder 13"/>
          <p:cNvSpPr>
            <a:spLocks noGrp="1"/>
          </p:cNvSpPr>
          <p:nvPr>
            <p:ph type="body" sz="quarter" idx="18" hasCustomPrompt="1"/>
          </p:nvPr>
        </p:nvSpPr>
        <p:spPr bwMode="gray">
          <a:xfrm>
            <a:off x="363209" y="812746"/>
            <a:ext cx="12423740" cy="436608"/>
          </a:xfrm>
          <a:prstGeom prst="rect">
            <a:avLst/>
          </a:prstGeom>
        </p:spPr>
        <p:txBody>
          <a:bodyPr lIns="0"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34" name="Text Placeholder 2"/>
          <p:cNvSpPr>
            <a:spLocks noGrp="1"/>
          </p:cNvSpPr>
          <p:nvPr>
            <p:ph type="body" idx="19" hasCustomPrompt="1"/>
          </p:nvPr>
        </p:nvSpPr>
        <p:spPr>
          <a:xfrm>
            <a:off x="4420296" y="4745259"/>
            <a:ext cx="4623528" cy="254503"/>
          </a:xfrm>
          <a:prstGeom prst="rect">
            <a:avLst/>
          </a:prstGeom>
        </p:spPr>
        <p:txBody>
          <a:bodyPr wrap="square" anchor="ctr" anchorCtr="0">
            <a:spAutoFit/>
          </a:bodyPr>
          <a:lstStyle>
            <a:lvl1pPr marL="0" indent="0" algn="ctr">
              <a:lnSpc>
                <a:spcPts val="2000"/>
              </a:lnSpc>
              <a:buNone/>
              <a:defRPr sz="20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cxnSp>
        <p:nvCxnSpPr>
          <p:cNvPr id="37" name="Straight Connector 36"/>
          <p:cNvCxnSpPr/>
          <p:nvPr userDrawn="1"/>
        </p:nvCxnSpPr>
        <p:spPr>
          <a:xfrm>
            <a:off x="6732060" y="5341620"/>
            <a:ext cx="0" cy="251460"/>
          </a:xfrm>
          <a:prstGeom prst="line">
            <a:avLst/>
          </a:prstGeom>
          <a:ln w="254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39" name="Text Placeholder 2"/>
          <p:cNvSpPr>
            <a:spLocks noGrp="1"/>
          </p:cNvSpPr>
          <p:nvPr userDrawn="1">
            <p:ph type="body" idx="21" hasCustomPrompt="1"/>
          </p:nvPr>
        </p:nvSpPr>
        <p:spPr>
          <a:xfrm>
            <a:off x="1636016" y="5943824"/>
            <a:ext cx="10170915" cy="307777"/>
          </a:xfrm>
          <a:prstGeom prst="rect">
            <a:avLst/>
          </a:prstGeom>
        </p:spPr>
        <p:txBody>
          <a:bodyPr wrap="square" anchor="ctr" anchorCtr="0">
            <a:spAutoFit/>
          </a:bodyPr>
          <a:lstStyle>
            <a:lvl1pPr marL="0" indent="0" algn="ctr">
              <a:lnSpc>
                <a:spcPct val="100000"/>
              </a:lnSpc>
              <a:buNone/>
              <a:defRPr sz="20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Tree>
    <p:extLst>
      <p:ext uri="{BB962C8B-B14F-4D97-AF65-F5344CB8AC3E}">
        <p14:creationId xmlns:p14="http://schemas.microsoft.com/office/powerpoint/2010/main" val="535605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extLst mod="1">
    <p:ext uri="{DCECCB84-F9BA-43D5-87BE-67443E8EF086}">
      <p15:sldGuideLst xmlns:p15="http://schemas.microsoft.com/office/powerpoint/2012/main">
        <p15:guide id="1" orient="horz" pos="2381">
          <p15:clr>
            <a:srgbClr val="FBAE40"/>
          </p15:clr>
        </p15:guide>
        <p15:guide id="2" pos="3175">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mp; Content Op 5">
    <p:spTree>
      <p:nvGrpSpPr>
        <p:cNvPr id="1" name=""/>
        <p:cNvGrpSpPr/>
        <p:nvPr/>
      </p:nvGrpSpPr>
      <p:grpSpPr>
        <a:xfrm>
          <a:off x="0" y="0"/>
          <a:ext cx="0" cy="0"/>
          <a:chOff x="0" y="0"/>
          <a:chExt cx="0" cy="0"/>
        </a:xfrm>
      </p:grpSpPr>
      <p:grpSp>
        <p:nvGrpSpPr>
          <p:cNvPr id="7" name="Group 6"/>
          <p:cNvGrpSpPr/>
          <p:nvPr userDrawn="1"/>
        </p:nvGrpSpPr>
        <p:grpSpPr>
          <a:xfrm>
            <a:off x="6879403" y="1567135"/>
            <a:ext cx="3922378" cy="1983786"/>
            <a:chOff x="5158740" y="1567134"/>
            <a:chExt cx="2941320" cy="1983786"/>
          </a:xfrm>
        </p:grpSpPr>
        <p:sp>
          <p:nvSpPr>
            <p:cNvPr id="6" name="Snip Diagonal Corner Rectangle 5"/>
            <p:cNvSpPr/>
            <p:nvPr userDrawn="1"/>
          </p:nvSpPr>
          <p:spPr>
            <a:xfrm flipH="1">
              <a:off x="5158740" y="1790700"/>
              <a:ext cx="2941320" cy="1760220"/>
            </a:xfrm>
            <a:prstGeom prst="snip2DiagRect">
              <a:avLst>
                <a:gd name="adj1" fmla="val 0"/>
                <a:gd name="adj2" fmla="val 6590"/>
              </a:avLst>
            </a:prstGeom>
            <a:no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17" name="Oval 16"/>
            <p:cNvSpPr/>
            <p:nvPr userDrawn="1"/>
          </p:nvSpPr>
          <p:spPr>
            <a:xfrm>
              <a:off x="7416959" y="1567134"/>
              <a:ext cx="499110" cy="499110"/>
            </a:xfrm>
            <a:prstGeom prst="ellipse">
              <a:avLst/>
            </a:prstGeom>
            <a:solidFill>
              <a:srgbClr val="FFFFFF"/>
            </a:solid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grpSp>
      <p:grpSp>
        <p:nvGrpSpPr>
          <p:cNvPr id="8" name="Group 7"/>
          <p:cNvGrpSpPr/>
          <p:nvPr userDrawn="1"/>
        </p:nvGrpSpPr>
        <p:grpSpPr>
          <a:xfrm>
            <a:off x="711312" y="2116137"/>
            <a:ext cx="5873405" cy="1434783"/>
            <a:chOff x="533400" y="2116137"/>
            <a:chExt cx="4404360" cy="1434783"/>
          </a:xfrm>
          <a:solidFill>
            <a:srgbClr val="FB3449"/>
          </a:solidFill>
        </p:grpSpPr>
        <p:sp>
          <p:nvSpPr>
            <p:cNvPr id="15" name="Snip Diagonal Corner Rectangle 14"/>
            <p:cNvSpPr/>
            <p:nvPr userDrawn="1"/>
          </p:nvSpPr>
          <p:spPr>
            <a:xfrm flipH="1" flipV="1">
              <a:off x="533400" y="2374020"/>
              <a:ext cx="4404360" cy="1176900"/>
            </a:xfrm>
            <a:prstGeom prst="snip2DiagRect">
              <a:avLst>
                <a:gd name="adj1" fmla="val 0"/>
                <a:gd name="adj2" fmla="val 12100"/>
              </a:avLst>
            </a:prstGeom>
            <a:grpFill/>
            <a:ln w="254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20" name="Oval 19"/>
            <p:cNvSpPr/>
            <p:nvPr userDrawn="1"/>
          </p:nvSpPr>
          <p:spPr>
            <a:xfrm>
              <a:off x="2695575" y="2116137"/>
              <a:ext cx="499110" cy="499110"/>
            </a:xfrm>
            <a:prstGeom prst="ellipse">
              <a:avLst/>
            </a:prstGeom>
            <a:solidFill>
              <a:srgbClr val="FFFFFF"/>
            </a:solid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grpSp>
      <p:grpSp>
        <p:nvGrpSpPr>
          <p:cNvPr id="9" name="Group 8"/>
          <p:cNvGrpSpPr/>
          <p:nvPr userDrawn="1"/>
        </p:nvGrpSpPr>
        <p:grpSpPr>
          <a:xfrm>
            <a:off x="3101830" y="3764280"/>
            <a:ext cx="3482888" cy="1607820"/>
            <a:chOff x="2326005" y="3764280"/>
            <a:chExt cx="2611755" cy="1607820"/>
          </a:xfrm>
        </p:grpSpPr>
        <p:sp>
          <p:nvSpPr>
            <p:cNvPr id="14" name="Snip Diagonal Corner Rectangle 13"/>
            <p:cNvSpPr/>
            <p:nvPr userDrawn="1"/>
          </p:nvSpPr>
          <p:spPr>
            <a:xfrm flipH="1">
              <a:off x="2575560" y="3764280"/>
              <a:ext cx="2362200" cy="1607820"/>
            </a:xfrm>
            <a:prstGeom prst="snip2DiagRect">
              <a:avLst>
                <a:gd name="adj1" fmla="val 0"/>
                <a:gd name="adj2" fmla="val 8486"/>
              </a:avLst>
            </a:prstGeom>
            <a:no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22" name="Oval 21"/>
            <p:cNvSpPr/>
            <p:nvPr userDrawn="1"/>
          </p:nvSpPr>
          <p:spPr>
            <a:xfrm>
              <a:off x="2326005" y="4030785"/>
              <a:ext cx="499110" cy="499110"/>
            </a:xfrm>
            <a:prstGeom prst="ellipse">
              <a:avLst/>
            </a:prstGeom>
            <a:solidFill>
              <a:srgbClr val="FFFFFF"/>
            </a:solid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grpSp>
      <p:grpSp>
        <p:nvGrpSpPr>
          <p:cNvPr id="10" name="Group 9"/>
          <p:cNvGrpSpPr/>
          <p:nvPr userDrawn="1"/>
        </p:nvGrpSpPr>
        <p:grpSpPr>
          <a:xfrm>
            <a:off x="6546612" y="3764279"/>
            <a:ext cx="5840380" cy="2705100"/>
            <a:chOff x="4909185" y="3764280"/>
            <a:chExt cx="4379595" cy="2705100"/>
          </a:xfrm>
          <a:solidFill>
            <a:srgbClr val="FB3449"/>
          </a:solidFill>
        </p:grpSpPr>
        <p:sp>
          <p:nvSpPr>
            <p:cNvPr id="16" name="Snip Diagonal Corner Rectangle 15"/>
            <p:cNvSpPr/>
            <p:nvPr userDrawn="1"/>
          </p:nvSpPr>
          <p:spPr>
            <a:xfrm flipH="1" flipV="1">
              <a:off x="5167626" y="3764280"/>
              <a:ext cx="4121154" cy="2705100"/>
            </a:xfrm>
            <a:prstGeom prst="snip2DiagRect">
              <a:avLst>
                <a:gd name="adj1" fmla="val 0"/>
                <a:gd name="adj2" fmla="val 4618"/>
              </a:avLst>
            </a:prstGeom>
            <a:grpFill/>
            <a:ln w="254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24" name="Oval 23"/>
            <p:cNvSpPr/>
            <p:nvPr userDrawn="1"/>
          </p:nvSpPr>
          <p:spPr>
            <a:xfrm>
              <a:off x="4909185" y="5511839"/>
              <a:ext cx="499110" cy="499110"/>
            </a:xfrm>
            <a:prstGeom prst="ellipse">
              <a:avLst/>
            </a:prstGeom>
            <a:solidFill>
              <a:srgbClr val="FFFFFF"/>
            </a:solid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grpSp>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931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1" name="Text Placeholder 3"/>
          <p:cNvSpPr>
            <a:spLocks noGrp="1"/>
          </p:cNvSpPr>
          <p:nvPr>
            <p:ph type="body" sz="half" idx="2" hasCustomPrompt="1"/>
          </p:nvPr>
        </p:nvSpPr>
        <p:spPr>
          <a:xfrm>
            <a:off x="5864253" y="6992186"/>
            <a:ext cx="7152151" cy="243656"/>
          </a:xfrm>
          <a:prstGeom prst="rect">
            <a:avLst/>
          </a:prstGeom>
        </p:spPr>
        <p:txBody>
          <a:bodyPr wrap="square" anchor="b" anchorCtr="0">
            <a:spAutoFit/>
          </a:bodyPr>
          <a:lstStyle>
            <a:lvl1pPr marL="0" indent="0" algn="r">
              <a:buNone/>
              <a:defRPr sz="700" b="1">
                <a:solidFill>
                  <a:schemeClr val="bg1"/>
                </a:solidFill>
              </a:defRPr>
            </a:lvl1pPr>
            <a:lvl2pPr marL="457185" indent="0">
              <a:buNone/>
              <a:defRPr sz="1400"/>
            </a:lvl2pPr>
            <a:lvl3pPr marL="914371" indent="0">
              <a:buNone/>
              <a:defRPr sz="1200"/>
            </a:lvl3pPr>
            <a:lvl4pPr marL="1371555" indent="0">
              <a:buNone/>
              <a:defRPr sz="1000"/>
            </a:lvl4pPr>
            <a:lvl5pPr marL="1828741" indent="0">
              <a:buNone/>
              <a:defRPr sz="1000"/>
            </a:lvl5pPr>
            <a:lvl6pPr marL="2285926" indent="0">
              <a:buNone/>
              <a:defRPr sz="1000"/>
            </a:lvl6pPr>
            <a:lvl7pPr marL="2743110" indent="0">
              <a:buNone/>
              <a:defRPr sz="1000"/>
            </a:lvl7pPr>
            <a:lvl8pPr marL="3200296" indent="0">
              <a:buNone/>
              <a:defRPr sz="1000"/>
            </a:lvl8pPr>
            <a:lvl9pPr marL="3657481" indent="0">
              <a:buNone/>
              <a:defRPr sz="1000"/>
            </a:lvl9pPr>
          </a:lstStyle>
          <a:p>
            <a:pPr lvl="0"/>
            <a:r>
              <a:rPr lang="en-GB" dirty="0"/>
              <a:t>Source: Insert Source here</a:t>
            </a:r>
          </a:p>
        </p:txBody>
      </p:sp>
      <p:sp>
        <p:nvSpPr>
          <p:cNvPr id="31" name="Text Placeholder 2"/>
          <p:cNvSpPr>
            <a:spLocks noGrp="1"/>
          </p:cNvSpPr>
          <p:nvPr>
            <p:ph type="body" idx="16" hasCustomPrompt="1"/>
          </p:nvPr>
        </p:nvSpPr>
        <p:spPr>
          <a:xfrm>
            <a:off x="7871004" y="4186801"/>
            <a:ext cx="3536237" cy="1231105"/>
          </a:xfrm>
          <a:prstGeom prst="rect">
            <a:avLst/>
          </a:prstGeom>
        </p:spPr>
        <p:txBody>
          <a:bodyPr wrap="square" anchor="t" anchorCtr="0">
            <a:spAutoFit/>
          </a:bodyPr>
          <a:lstStyle>
            <a:lvl1pPr marL="0" indent="0" algn="ctr">
              <a:lnSpc>
                <a:spcPct val="100000"/>
              </a:lnSpc>
              <a:buNone/>
              <a:defRPr sz="78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28" name="Text Placeholder 13"/>
          <p:cNvSpPr>
            <a:spLocks noGrp="1"/>
          </p:cNvSpPr>
          <p:nvPr>
            <p:ph type="body" sz="quarter" idx="18" hasCustomPrompt="1"/>
          </p:nvPr>
        </p:nvSpPr>
        <p:spPr bwMode="gray">
          <a:xfrm>
            <a:off x="363209" y="812746"/>
            <a:ext cx="12423740" cy="436608"/>
          </a:xfrm>
          <a:prstGeom prst="rect">
            <a:avLst/>
          </a:prstGeom>
        </p:spPr>
        <p:txBody>
          <a:bodyPr lIns="0"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30" name="Text Placeholder 2"/>
          <p:cNvSpPr>
            <a:spLocks noGrp="1"/>
          </p:cNvSpPr>
          <p:nvPr>
            <p:ph type="body" idx="19" hasCustomPrompt="1"/>
          </p:nvPr>
        </p:nvSpPr>
        <p:spPr>
          <a:xfrm>
            <a:off x="7072474" y="5286644"/>
            <a:ext cx="5131608" cy="282129"/>
          </a:xfrm>
          <a:prstGeom prst="rect">
            <a:avLst/>
          </a:prstGeom>
        </p:spPr>
        <p:txBody>
          <a:bodyPr wrap="square" anchor="t" anchorCtr="0">
            <a:spAutoFit/>
          </a:bodyPr>
          <a:lstStyle>
            <a:lvl1pPr marL="0" indent="0" algn="ctr">
              <a:lnSpc>
                <a:spcPts val="2199"/>
              </a:lnSpc>
              <a:buNone/>
              <a:defRPr sz="21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33" name="Text Placeholder 2"/>
          <p:cNvSpPr>
            <a:spLocks noGrp="1"/>
          </p:cNvSpPr>
          <p:nvPr>
            <p:ph type="body" idx="20" hasCustomPrompt="1"/>
          </p:nvPr>
        </p:nvSpPr>
        <p:spPr>
          <a:xfrm>
            <a:off x="7070992" y="2007480"/>
            <a:ext cx="3536237" cy="1015611"/>
          </a:xfrm>
          <a:prstGeom prst="rect">
            <a:avLst/>
          </a:prstGeom>
        </p:spPr>
        <p:txBody>
          <a:bodyPr wrap="square" anchor="t" anchorCtr="0">
            <a:spAutoFit/>
          </a:bodyPr>
          <a:lstStyle>
            <a:lvl1pPr marL="0" indent="0" algn="ctr">
              <a:lnSpc>
                <a:spcPct val="100000"/>
              </a:lnSpc>
              <a:buNone/>
              <a:defRPr sz="66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34" name="Text Placeholder 2"/>
          <p:cNvSpPr>
            <a:spLocks noGrp="1"/>
          </p:cNvSpPr>
          <p:nvPr>
            <p:ph type="body" idx="21" hasCustomPrompt="1"/>
          </p:nvPr>
        </p:nvSpPr>
        <p:spPr>
          <a:xfrm>
            <a:off x="7070992" y="2947304"/>
            <a:ext cx="3536237" cy="282781"/>
          </a:xfrm>
          <a:prstGeom prst="rect">
            <a:avLst/>
          </a:prstGeom>
        </p:spPr>
        <p:txBody>
          <a:bodyPr wrap="square" anchor="t" anchorCtr="0">
            <a:spAutoFit/>
          </a:bodyPr>
          <a:lstStyle>
            <a:lvl1pPr marL="0" indent="0" algn="ctr">
              <a:lnSpc>
                <a:spcPts val="2199"/>
              </a:lnSpc>
              <a:buNone/>
              <a:defRPr sz="21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35" name="Text Placeholder 2"/>
          <p:cNvSpPr>
            <a:spLocks noGrp="1"/>
          </p:cNvSpPr>
          <p:nvPr>
            <p:ph type="body" idx="22" hasCustomPrompt="1"/>
          </p:nvPr>
        </p:nvSpPr>
        <p:spPr>
          <a:xfrm>
            <a:off x="802767" y="3031123"/>
            <a:ext cx="5629525" cy="282129"/>
          </a:xfrm>
          <a:prstGeom prst="rect">
            <a:avLst/>
          </a:prstGeom>
        </p:spPr>
        <p:txBody>
          <a:bodyPr wrap="square" anchor="ctr" anchorCtr="0">
            <a:spAutoFit/>
          </a:bodyPr>
          <a:lstStyle>
            <a:lvl1pPr marL="0" indent="0" algn="ctr">
              <a:lnSpc>
                <a:spcPts val="2199"/>
              </a:lnSpc>
              <a:buNone/>
              <a:defRPr sz="21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36" name="Text Placeholder 2"/>
          <p:cNvSpPr>
            <a:spLocks noGrp="1"/>
          </p:cNvSpPr>
          <p:nvPr>
            <p:ph type="body" idx="23" hasCustomPrompt="1"/>
          </p:nvPr>
        </p:nvSpPr>
        <p:spPr>
          <a:xfrm>
            <a:off x="3584505" y="3967265"/>
            <a:ext cx="2837626" cy="923353"/>
          </a:xfrm>
          <a:prstGeom prst="rect">
            <a:avLst/>
          </a:prstGeom>
        </p:spPr>
        <p:txBody>
          <a:bodyPr wrap="square" anchor="t" anchorCtr="0">
            <a:spAutoFit/>
          </a:bodyPr>
          <a:lstStyle>
            <a:lvl1pPr marL="0" indent="0" algn="ctr">
              <a:lnSpc>
                <a:spcPct val="100000"/>
              </a:lnSpc>
              <a:buNone/>
              <a:defRPr sz="60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37" name="Text Placeholder 2"/>
          <p:cNvSpPr>
            <a:spLocks noGrp="1"/>
          </p:cNvSpPr>
          <p:nvPr>
            <p:ph type="body" idx="24" hasCustomPrompt="1"/>
          </p:nvPr>
        </p:nvSpPr>
        <p:spPr>
          <a:xfrm>
            <a:off x="3584505" y="4799759"/>
            <a:ext cx="2837626" cy="282781"/>
          </a:xfrm>
          <a:prstGeom prst="rect">
            <a:avLst/>
          </a:prstGeom>
        </p:spPr>
        <p:txBody>
          <a:bodyPr wrap="square" anchor="t" anchorCtr="0">
            <a:spAutoFit/>
          </a:bodyPr>
          <a:lstStyle>
            <a:lvl1pPr marL="0" indent="0" algn="ctr">
              <a:lnSpc>
                <a:spcPts val="2199"/>
              </a:lnSpc>
              <a:buNone/>
              <a:defRPr sz="1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44" name="Freeform 50"/>
          <p:cNvSpPr>
            <a:spLocks noEditPoints="1"/>
          </p:cNvSpPr>
          <p:nvPr userDrawn="1"/>
        </p:nvSpPr>
        <p:spPr bwMode="auto">
          <a:xfrm>
            <a:off x="3735880" y="2267474"/>
            <a:ext cx="92652" cy="200393"/>
          </a:xfrm>
          <a:custGeom>
            <a:avLst/>
            <a:gdLst>
              <a:gd name="T0" fmla="*/ 363 w 673"/>
              <a:gd name="T1" fmla="*/ 2 h 1944"/>
              <a:gd name="T2" fmla="*/ 440 w 673"/>
              <a:gd name="T3" fmla="*/ 23 h 1944"/>
              <a:gd name="T4" fmla="*/ 507 w 673"/>
              <a:gd name="T5" fmla="*/ 62 h 1944"/>
              <a:gd name="T6" fmla="*/ 558 w 673"/>
              <a:gd name="T7" fmla="*/ 119 h 1944"/>
              <a:gd name="T8" fmla="*/ 592 w 673"/>
              <a:gd name="T9" fmla="*/ 189 h 1944"/>
              <a:gd name="T10" fmla="*/ 604 w 673"/>
              <a:gd name="T11" fmla="*/ 270 h 1944"/>
              <a:gd name="T12" fmla="*/ 599 w 673"/>
              <a:gd name="T13" fmla="*/ 324 h 1944"/>
              <a:gd name="T14" fmla="*/ 572 w 673"/>
              <a:gd name="T15" fmla="*/ 398 h 1944"/>
              <a:gd name="T16" fmla="*/ 525 w 673"/>
              <a:gd name="T17" fmla="*/ 460 h 1944"/>
              <a:gd name="T18" fmla="*/ 464 w 673"/>
              <a:gd name="T19" fmla="*/ 506 h 1944"/>
              <a:gd name="T20" fmla="*/ 390 w 673"/>
              <a:gd name="T21" fmla="*/ 532 h 1944"/>
              <a:gd name="T22" fmla="*/ 335 w 673"/>
              <a:gd name="T23" fmla="*/ 539 h 1944"/>
              <a:gd name="T24" fmla="*/ 256 w 673"/>
              <a:gd name="T25" fmla="*/ 527 h 1944"/>
              <a:gd name="T26" fmla="*/ 186 w 673"/>
              <a:gd name="T27" fmla="*/ 492 h 1944"/>
              <a:gd name="T28" fmla="*/ 128 w 673"/>
              <a:gd name="T29" fmla="*/ 441 h 1944"/>
              <a:gd name="T30" fmla="*/ 89 w 673"/>
              <a:gd name="T31" fmla="*/ 374 h 1944"/>
              <a:gd name="T32" fmla="*/ 68 w 673"/>
              <a:gd name="T33" fmla="*/ 297 h 1944"/>
              <a:gd name="T34" fmla="*/ 68 w 673"/>
              <a:gd name="T35" fmla="*/ 242 h 1944"/>
              <a:gd name="T36" fmla="*/ 89 w 673"/>
              <a:gd name="T37" fmla="*/ 165 h 1944"/>
              <a:gd name="T38" fmla="*/ 128 w 673"/>
              <a:gd name="T39" fmla="*/ 98 h 1944"/>
              <a:gd name="T40" fmla="*/ 186 w 673"/>
              <a:gd name="T41" fmla="*/ 47 h 1944"/>
              <a:gd name="T42" fmla="*/ 256 w 673"/>
              <a:gd name="T43" fmla="*/ 12 h 1944"/>
              <a:gd name="T44" fmla="*/ 335 w 673"/>
              <a:gd name="T45" fmla="*/ 0 h 1944"/>
              <a:gd name="T46" fmla="*/ 673 w 673"/>
              <a:gd name="T47" fmla="*/ 1240 h 1944"/>
              <a:gd name="T48" fmla="*/ 661 w 673"/>
              <a:gd name="T49" fmla="*/ 1277 h 1944"/>
              <a:gd name="T50" fmla="*/ 642 w 673"/>
              <a:gd name="T51" fmla="*/ 1296 h 1944"/>
              <a:gd name="T52" fmla="*/ 604 w 673"/>
              <a:gd name="T53" fmla="*/ 1308 h 1944"/>
              <a:gd name="T54" fmla="*/ 522 w 673"/>
              <a:gd name="T55" fmla="*/ 1875 h 1944"/>
              <a:gd name="T56" fmla="*/ 512 w 673"/>
              <a:gd name="T57" fmla="*/ 1913 h 1944"/>
              <a:gd name="T58" fmla="*/ 481 w 673"/>
              <a:gd name="T59" fmla="*/ 1939 h 1944"/>
              <a:gd name="T60" fmla="*/ 453 w 673"/>
              <a:gd name="T61" fmla="*/ 1944 h 1944"/>
              <a:gd name="T62" fmla="*/ 416 w 673"/>
              <a:gd name="T63" fmla="*/ 1932 h 1944"/>
              <a:gd name="T64" fmla="*/ 390 w 673"/>
              <a:gd name="T65" fmla="*/ 1901 h 1944"/>
              <a:gd name="T66" fmla="*/ 385 w 673"/>
              <a:gd name="T67" fmla="*/ 1308 h 1944"/>
              <a:gd name="T68" fmla="*/ 298 w 673"/>
              <a:gd name="T69" fmla="*/ 1875 h 1944"/>
              <a:gd name="T70" fmla="*/ 286 w 673"/>
              <a:gd name="T71" fmla="*/ 1913 h 1944"/>
              <a:gd name="T72" fmla="*/ 255 w 673"/>
              <a:gd name="T73" fmla="*/ 1939 h 1944"/>
              <a:gd name="T74" fmla="*/ 229 w 673"/>
              <a:gd name="T75" fmla="*/ 1944 h 1944"/>
              <a:gd name="T76" fmla="*/ 190 w 673"/>
              <a:gd name="T77" fmla="*/ 1932 h 1944"/>
              <a:gd name="T78" fmla="*/ 166 w 673"/>
              <a:gd name="T79" fmla="*/ 1901 h 1944"/>
              <a:gd name="T80" fmla="*/ 161 w 673"/>
              <a:gd name="T81" fmla="*/ 1308 h 1944"/>
              <a:gd name="T82" fmla="*/ 54 w 673"/>
              <a:gd name="T83" fmla="*/ 1306 h 1944"/>
              <a:gd name="T84" fmla="*/ 18 w 673"/>
              <a:gd name="T85" fmla="*/ 1288 h 1944"/>
              <a:gd name="T86" fmla="*/ 5 w 673"/>
              <a:gd name="T87" fmla="*/ 1265 h 1944"/>
              <a:gd name="T88" fmla="*/ 0 w 673"/>
              <a:gd name="T89" fmla="*/ 701 h 1944"/>
              <a:gd name="T90" fmla="*/ 5 w 673"/>
              <a:gd name="T91" fmla="*/ 676 h 1944"/>
              <a:gd name="T92" fmla="*/ 18 w 673"/>
              <a:gd name="T93" fmla="*/ 653 h 1944"/>
              <a:gd name="T94" fmla="*/ 54 w 673"/>
              <a:gd name="T95" fmla="*/ 635 h 1944"/>
              <a:gd name="T96" fmla="*/ 604 w 673"/>
              <a:gd name="T97" fmla="*/ 633 h 1944"/>
              <a:gd name="T98" fmla="*/ 642 w 673"/>
              <a:gd name="T99" fmla="*/ 645 h 1944"/>
              <a:gd name="T100" fmla="*/ 661 w 673"/>
              <a:gd name="T101" fmla="*/ 664 h 1944"/>
              <a:gd name="T102" fmla="*/ 673 w 673"/>
              <a:gd name="T103" fmla="*/ 701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3" h="1944">
                <a:moveTo>
                  <a:pt x="335" y="0"/>
                </a:moveTo>
                <a:lnTo>
                  <a:pt x="335" y="0"/>
                </a:lnTo>
                <a:lnTo>
                  <a:pt x="363" y="2"/>
                </a:lnTo>
                <a:lnTo>
                  <a:pt x="390" y="6"/>
                </a:lnTo>
                <a:lnTo>
                  <a:pt x="416" y="12"/>
                </a:lnTo>
                <a:lnTo>
                  <a:pt x="440" y="23"/>
                </a:lnTo>
                <a:lnTo>
                  <a:pt x="464" y="33"/>
                </a:lnTo>
                <a:lnTo>
                  <a:pt x="486" y="47"/>
                </a:lnTo>
                <a:lnTo>
                  <a:pt x="507" y="62"/>
                </a:lnTo>
                <a:lnTo>
                  <a:pt x="525" y="79"/>
                </a:lnTo>
                <a:lnTo>
                  <a:pt x="543" y="98"/>
                </a:lnTo>
                <a:lnTo>
                  <a:pt x="558" y="119"/>
                </a:lnTo>
                <a:lnTo>
                  <a:pt x="572" y="141"/>
                </a:lnTo>
                <a:lnTo>
                  <a:pt x="584" y="165"/>
                </a:lnTo>
                <a:lnTo>
                  <a:pt x="592" y="189"/>
                </a:lnTo>
                <a:lnTo>
                  <a:pt x="599" y="215"/>
                </a:lnTo>
                <a:lnTo>
                  <a:pt x="603" y="242"/>
                </a:lnTo>
                <a:lnTo>
                  <a:pt x="604" y="270"/>
                </a:lnTo>
                <a:lnTo>
                  <a:pt x="604" y="270"/>
                </a:lnTo>
                <a:lnTo>
                  <a:pt x="603" y="297"/>
                </a:lnTo>
                <a:lnTo>
                  <a:pt x="599" y="324"/>
                </a:lnTo>
                <a:lnTo>
                  <a:pt x="592" y="350"/>
                </a:lnTo>
                <a:lnTo>
                  <a:pt x="584" y="374"/>
                </a:lnTo>
                <a:lnTo>
                  <a:pt x="572" y="398"/>
                </a:lnTo>
                <a:lnTo>
                  <a:pt x="558" y="420"/>
                </a:lnTo>
                <a:lnTo>
                  <a:pt x="543" y="441"/>
                </a:lnTo>
                <a:lnTo>
                  <a:pt x="525" y="460"/>
                </a:lnTo>
                <a:lnTo>
                  <a:pt x="507" y="477"/>
                </a:lnTo>
                <a:lnTo>
                  <a:pt x="486" y="492"/>
                </a:lnTo>
                <a:lnTo>
                  <a:pt x="464" y="506"/>
                </a:lnTo>
                <a:lnTo>
                  <a:pt x="440" y="516"/>
                </a:lnTo>
                <a:lnTo>
                  <a:pt x="416" y="527"/>
                </a:lnTo>
                <a:lnTo>
                  <a:pt x="390" y="532"/>
                </a:lnTo>
                <a:lnTo>
                  <a:pt x="363" y="537"/>
                </a:lnTo>
                <a:lnTo>
                  <a:pt x="335" y="539"/>
                </a:lnTo>
                <a:lnTo>
                  <a:pt x="335" y="539"/>
                </a:lnTo>
                <a:lnTo>
                  <a:pt x="308" y="537"/>
                </a:lnTo>
                <a:lnTo>
                  <a:pt x="282" y="532"/>
                </a:lnTo>
                <a:lnTo>
                  <a:pt x="256" y="527"/>
                </a:lnTo>
                <a:lnTo>
                  <a:pt x="231" y="516"/>
                </a:lnTo>
                <a:lnTo>
                  <a:pt x="209" y="506"/>
                </a:lnTo>
                <a:lnTo>
                  <a:pt x="186" y="492"/>
                </a:lnTo>
                <a:lnTo>
                  <a:pt x="166" y="477"/>
                </a:lnTo>
                <a:lnTo>
                  <a:pt x="147" y="460"/>
                </a:lnTo>
                <a:lnTo>
                  <a:pt x="128" y="441"/>
                </a:lnTo>
                <a:lnTo>
                  <a:pt x="113" y="420"/>
                </a:lnTo>
                <a:lnTo>
                  <a:pt x="101" y="398"/>
                </a:lnTo>
                <a:lnTo>
                  <a:pt x="89" y="374"/>
                </a:lnTo>
                <a:lnTo>
                  <a:pt x="80" y="350"/>
                </a:lnTo>
                <a:lnTo>
                  <a:pt x="73" y="324"/>
                </a:lnTo>
                <a:lnTo>
                  <a:pt x="68" y="297"/>
                </a:lnTo>
                <a:lnTo>
                  <a:pt x="68" y="270"/>
                </a:lnTo>
                <a:lnTo>
                  <a:pt x="68" y="270"/>
                </a:lnTo>
                <a:lnTo>
                  <a:pt x="68" y="242"/>
                </a:lnTo>
                <a:lnTo>
                  <a:pt x="73" y="215"/>
                </a:lnTo>
                <a:lnTo>
                  <a:pt x="80" y="189"/>
                </a:lnTo>
                <a:lnTo>
                  <a:pt x="89" y="165"/>
                </a:lnTo>
                <a:lnTo>
                  <a:pt x="101" y="141"/>
                </a:lnTo>
                <a:lnTo>
                  <a:pt x="113" y="119"/>
                </a:lnTo>
                <a:lnTo>
                  <a:pt x="128" y="98"/>
                </a:lnTo>
                <a:lnTo>
                  <a:pt x="147" y="79"/>
                </a:lnTo>
                <a:lnTo>
                  <a:pt x="166" y="62"/>
                </a:lnTo>
                <a:lnTo>
                  <a:pt x="186" y="47"/>
                </a:lnTo>
                <a:lnTo>
                  <a:pt x="209" y="33"/>
                </a:lnTo>
                <a:lnTo>
                  <a:pt x="231" y="23"/>
                </a:lnTo>
                <a:lnTo>
                  <a:pt x="256" y="12"/>
                </a:lnTo>
                <a:lnTo>
                  <a:pt x="282" y="6"/>
                </a:lnTo>
                <a:lnTo>
                  <a:pt x="308" y="2"/>
                </a:lnTo>
                <a:lnTo>
                  <a:pt x="335" y="0"/>
                </a:lnTo>
                <a:lnTo>
                  <a:pt x="335" y="0"/>
                </a:lnTo>
                <a:close/>
                <a:moveTo>
                  <a:pt x="673" y="1240"/>
                </a:moveTo>
                <a:lnTo>
                  <a:pt x="673" y="1240"/>
                </a:lnTo>
                <a:lnTo>
                  <a:pt x="671" y="1252"/>
                </a:lnTo>
                <a:lnTo>
                  <a:pt x="668" y="1265"/>
                </a:lnTo>
                <a:lnTo>
                  <a:pt x="661" y="1277"/>
                </a:lnTo>
                <a:lnTo>
                  <a:pt x="652" y="1288"/>
                </a:lnTo>
                <a:lnTo>
                  <a:pt x="652" y="1288"/>
                </a:lnTo>
                <a:lnTo>
                  <a:pt x="642" y="1296"/>
                </a:lnTo>
                <a:lnTo>
                  <a:pt x="630" y="1303"/>
                </a:lnTo>
                <a:lnTo>
                  <a:pt x="618" y="1306"/>
                </a:lnTo>
                <a:lnTo>
                  <a:pt x="604" y="1308"/>
                </a:lnTo>
                <a:lnTo>
                  <a:pt x="522" y="1308"/>
                </a:lnTo>
                <a:lnTo>
                  <a:pt x="522" y="1875"/>
                </a:lnTo>
                <a:lnTo>
                  <a:pt x="522" y="1875"/>
                </a:lnTo>
                <a:lnTo>
                  <a:pt x="522" y="1889"/>
                </a:lnTo>
                <a:lnTo>
                  <a:pt x="517" y="1901"/>
                </a:lnTo>
                <a:lnTo>
                  <a:pt x="512" y="1913"/>
                </a:lnTo>
                <a:lnTo>
                  <a:pt x="503" y="1923"/>
                </a:lnTo>
                <a:lnTo>
                  <a:pt x="493" y="1932"/>
                </a:lnTo>
                <a:lnTo>
                  <a:pt x="481" y="1939"/>
                </a:lnTo>
                <a:lnTo>
                  <a:pt x="467" y="1942"/>
                </a:lnTo>
                <a:lnTo>
                  <a:pt x="453" y="1944"/>
                </a:lnTo>
                <a:lnTo>
                  <a:pt x="453" y="1944"/>
                </a:lnTo>
                <a:lnTo>
                  <a:pt x="440" y="1942"/>
                </a:lnTo>
                <a:lnTo>
                  <a:pt x="428" y="1939"/>
                </a:lnTo>
                <a:lnTo>
                  <a:pt x="416" y="1932"/>
                </a:lnTo>
                <a:lnTo>
                  <a:pt x="406" y="1923"/>
                </a:lnTo>
                <a:lnTo>
                  <a:pt x="397" y="1913"/>
                </a:lnTo>
                <a:lnTo>
                  <a:pt x="390" y="1901"/>
                </a:lnTo>
                <a:lnTo>
                  <a:pt x="387" y="1889"/>
                </a:lnTo>
                <a:lnTo>
                  <a:pt x="385" y="1875"/>
                </a:lnTo>
                <a:lnTo>
                  <a:pt x="385" y="1308"/>
                </a:lnTo>
                <a:lnTo>
                  <a:pt x="298" y="1308"/>
                </a:lnTo>
                <a:lnTo>
                  <a:pt x="298" y="1875"/>
                </a:lnTo>
                <a:lnTo>
                  <a:pt x="298" y="1875"/>
                </a:lnTo>
                <a:lnTo>
                  <a:pt x="296" y="1889"/>
                </a:lnTo>
                <a:lnTo>
                  <a:pt x="292" y="1901"/>
                </a:lnTo>
                <a:lnTo>
                  <a:pt x="286" y="1913"/>
                </a:lnTo>
                <a:lnTo>
                  <a:pt x="277" y="1923"/>
                </a:lnTo>
                <a:lnTo>
                  <a:pt x="267" y="1932"/>
                </a:lnTo>
                <a:lnTo>
                  <a:pt x="255" y="1939"/>
                </a:lnTo>
                <a:lnTo>
                  <a:pt x="243" y="1942"/>
                </a:lnTo>
                <a:lnTo>
                  <a:pt x="229" y="1944"/>
                </a:lnTo>
                <a:lnTo>
                  <a:pt x="229" y="1944"/>
                </a:lnTo>
                <a:lnTo>
                  <a:pt x="215" y="1942"/>
                </a:lnTo>
                <a:lnTo>
                  <a:pt x="202" y="1939"/>
                </a:lnTo>
                <a:lnTo>
                  <a:pt x="190" y="1932"/>
                </a:lnTo>
                <a:lnTo>
                  <a:pt x="179" y="1923"/>
                </a:lnTo>
                <a:lnTo>
                  <a:pt x="173" y="1913"/>
                </a:lnTo>
                <a:lnTo>
                  <a:pt x="166" y="1901"/>
                </a:lnTo>
                <a:lnTo>
                  <a:pt x="162" y="1889"/>
                </a:lnTo>
                <a:lnTo>
                  <a:pt x="161" y="1875"/>
                </a:lnTo>
                <a:lnTo>
                  <a:pt x="161" y="1308"/>
                </a:lnTo>
                <a:lnTo>
                  <a:pt x="68" y="1308"/>
                </a:lnTo>
                <a:lnTo>
                  <a:pt x="68" y="1308"/>
                </a:lnTo>
                <a:lnTo>
                  <a:pt x="54" y="1306"/>
                </a:lnTo>
                <a:lnTo>
                  <a:pt x="41" y="1303"/>
                </a:lnTo>
                <a:lnTo>
                  <a:pt x="29" y="1296"/>
                </a:lnTo>
                <a:lnTo>
                  <a:pt x="18" y="1288"/>
                </a:lnTo>
                <a:lnTo>
                  <a:pt x="18" y="1288"/>
                </a:lnTo>
                <a:lnTo>
                  <a:pt x="10" y="1277"/>
                </a:lnTo>
                <a:lnTo>
                  <a:pt x="5" y="1265"/>
                </a:lnTo>
                <a:lnTo>
                  <a:pt x="0" y="1252"/>
                </a:lnTo>
                <a:lnTo>
                  <a:pt x="0" y="1240"/>
                </a:lnTo>
                <a:lnTo>
                  <a:pt x="0" y="701"/>
                </a:lnTo>
                <a:lnTo>
                  <a:pt x="0" y="701"/>
                </a:lnTo>
                <a:lnTo>
                  <a:pt x="0" y="688"/>
                </a:lnTo>
                <a:lnTo>
                  <a:pt x="5" y="676"/>
                </a:lnTo>
                <a:lnTo>
                  <a:pt x="10" y="664"/>
                </a:lnTo>
                <a:lnTo>
                  <a:pt x="18" y="653"/>
                </a:lnTo>
                <a:lnTo>
                  <a:pt x="18" y="653"/>
                </a:lnTo>
                <a:lnTo>
                  <a:pt x="29" y="645"/>
                </a:lnTo>
                <a:lnTo>
                  <a:pt x="41" y="638"/>
                </a:lnTo>
                <a:lnTo>
                  <a:pt x="54" y="635"/>
                </a:lnTo>
                <a:lnTo>
                  <a:pt x="68" y="633"/>
                </a:lnTo>
                <a:lnTo>
                  <a:pt x="604" y="633"/>
                </a:lnTo>
                <a:lnTo>
                  <a:pt x="604" y="633"/>
                </a:lnTo>
                <a:lnTo>
                  <a:pt x="618" y="635"/>
                </a:lnTo>
                <a:lnTo>
                  <a:pt x="630" y="638"/>
                </a:lnTo>
                <a:lnTo>
                  <a:pt x="642" y="645"/>
                </a:lnTo>
                <a:lnTo>
                  <a:pt x="652" y="653"/>
                </a:lnTo>
                <a:lnTo>
                  <a:pt x="652" y="653"/>
                </a:lnTo>
                <a:lnTo>
                  <a:pt x="661" y="664"/>
                </a:lnTo>
                <a:lnTo>
                  <a:pt x="668" y="676"/>
                </a:lnTo>
                <a:lnTo>
                  <a:pt x="671" y="688"/>
                </a:lnTo>
                <a:lnTo>
                  <a:pt x="673" y="701"/>
                </a:lnTo>
                <a:lnTo>
                  <a:pt x="673" y="1240"/>
                </a:lnTo>
                <a:close/>
              </a:path>
            </a:pathLst>
          </a:custGeom>
          <a:solidFill>
            <a:srgbClr val="FB3449"/>
          </a:solidFill>
          <a:ln>
            <a:noFill/>
          </a:ln>
          <a:extLst/>
        </p:spPr>
        <p:txBody>
          <a:bodyPr vert="horz" wrap="square" lIns="91440" tIns="45720" rIns="91440" bIns="45720" numCol="1" anchor="t" anchorCtr="0" compatLnSpc="1">
            <a:prstTxWarp prst="textNoShape">
              <a:avLst/>
            </a:prstTxWarp>
          </a:bodyPr>
          <a:lstStyle/>
          <a:p>
            <a:pPr defTabSz="961813"/>
            <a:endParaRPr lang="en-GB" sz="1900">
              <a:solidFill>
                <a:srgbClr val="00BFD6"/>
              </a:solidFill>
            </a:endParaRPr>
          </a:p>
        </p:txBody>
      </p:sp>
      <p:sp>
        <p:nvSpPr>
          <p:cNvPr id="45" name="Freeform 50"/>
          <p:cNvSpPr>
            <a:spLocks noEditPoints="1"/>
          </p:cNvSpPr>
          <p:nvPr userDrawn="1"/>
        </p:nvSpPr>
        <p:spPr bwMode="auto">
          <a:xfrm>
            <a:off x="3881131" y="2267474"/>
            <a:ext cx="92652" cy="200393"/>
          </a:xfrm>
          <a:custGeom>
            <a:avLst/>
            <a:gdLst>
              <a:gd name="T0" fmla="*/ 363 w 673"/>
              <a:gd name="T1" fmla="*/ 2 h 1944"/>
              <a:gd name="T2" fmla="*/ 440 w 673"/>
              <a:gd name="T3" fmla="*/ 23 h 1944"/>
              <a:gd name="T4" fmla="*/ 507 w 673"/>
              <a:gd name="T5" fmla="*/ 62 h 1944"/>
              <a:gd name="T6" fmla="*/ 558 w 673"/>
              <a:gd name="T7" fmla="*/ 119 h 1944"/>
              <a:gd name="T8" fmla="*/ 592 w 673"/>
              <a:gd name="T9" fmla="*/ 189 h 1944"/>
              <a:gd name="T10" fmla="*/ 604 w 673"/>
              <a:gd name="T11" fmla="*/ 270 h 1944"/>
              <a:gd name="T12" fmla="*/ 599 w 673"/>
              <a:gd name="T13" fmla="*/ 324 h 1944"/>
              <a:gd name="T14" fmla="*/ 572 w 673"/>
              <a:gd name="T15" fmla="*/ 398 h 1944"/>
              <a:gd name="T16" fmla="*/ 525 w 673"/>
              <a:gd name="T17" fmla="*/ 460 h 1944"/>
              <a:gd name="T18" fmla="*/ 464 w 673"/>
              <a:gd name="T19" fmla="*/ 506 h 1944"/>
              <a:gd name="T20" fmla="*/ 390 w 673"/>
              <a:gd name="T21" fmla="*/ 532 h 1944"/>
              <a:gd name="T22" fmla="*/ 335 w 673"/>
              <a:gd name="T23" fmla="*/ 539 h 1944"/>
              <a:gd name="T24" fmla="*/ 256 w 673"/>
              <a:gd name="T25" fmla="*/ 527 h 1944"/>
              <a:gd name="T26" fmla="*/ 186 w 673"/>
              <a:gd name="T27" fmla="*/ 492 h 1944"/>
              <a:gd name="T28" fmla="*/ 128 w 673"/>
              <a:gd name="T29" fmla="*/ 441 h 1944"/>
              <a:gd name="T30" fmla="*/ 89 w 673"/>
              <a:gd name="T31" fmla="*/ 374 h 1944"/>
              <a:gd name="T32" fmla="*/ 68 w 673"/>
              <a:gd name="T33" fmla="*/ 297 h 1944"/>
              <a:gd name="T34" fmla="*/ 68 w 673"/>
              <a:gd name="T35" fmla="*/ 242 h 1944"/>
              <a:gd name="T36" fmla="*/ 89 w 673"/>
              <a:gd name="T37" fmla="*/ 165 h 1944"/>
              <a:gd name="T38" fmla="*/ 128 w 673"/>
              <a:gd name="T39" fmla="*/ 98 h 1944"/>
              <a:gd name="T40" fmla="*/ 186 w 673"/>
              <a:gd name="T41" fmla="*/ 47 h 1944"/>
              <a:gd name="T42" fmla="*/ 256 w 673"/>
              <a:gd name="T43" fmla="*/ 12 h 1944"/>
              <a:gd name="T44" fmla="*/ 335 w 673"/>
              <a:gd name="T45" fmla="*/ 0 h 1944"/>
              <a:gd name="T46" fmla="*/ 673 w 673"/>
              <a:gd name="T47" fmla="*/ 1240 h 1944"/>
              <a:gd name="T48" fmla="*/ 661 w 673"/>
              <a:gd name="T49" fmla="*/ 1277 h 1944"/>
              <a:gd name="T50" fmla="*/ 642 w 673"/>
              <a:gd name="T51" fmla="*/ 1296 h 1944"/>
              <a:gd name="T52" fmla="*/ 604 w 673"/>
              <a:gd name="T53" fmla="*/ 1308 h 1944"/>
              <a:gd name="T54" fmla="*/ 522 w 673"/>
              <a:gd name="T55" fmla="*/ 1875 h 1944"/>
              <a:gd name="T56" fmla="*/ 512 w 673"/>
              <a:gd name="T57" fmla="*/ 1913 h 1944"/>
              <a:gd name="T58" fmla="*/ 481 w 673"/>
              <a:gd name="T59" fmla="*/ 1939 h 1944"/>
              <a:gd name="T60" fmla="*/ 453 w 673"/>
              <a:gd name="T61" fmla="*/ 1944 h 1944"/>
              <a:gd name="T62" fmla="*/ 416 w 673"/>
              <a:gd name="T63" fmla="*/ 1932 h 1944"/>
              <a:gd name="T64" fmla="*/ 390 w 673"/>
              <a:gd name="T65" fmla="*/ 1901 h 1944"/>
              <a:gd name="T66" fmla="*/ 385 w 673"/>
              <a:gd name="T67" fmla="*/ 1308 h 1944"/>
              <a:gd name="T68" fmla="*/ 298 w 673"/>
              <a:gd name="T69" fmla="*/ 1875 h 1944"/>
              <a:gd name="T70" fmla="*/ 286 w 673"/>
              <a:gd name="T71" fmla="*/ 1913 h 1944"/>
              <a:gd name="T72" fmla="*/ 255 w 673"/>
              <a:gd name="T73" fmla="*/ 1939 h 1944"/>
              <a:gd name="T74" fmla="*/ 229 w 673"/>
              <a:gd name="T75" fmla="*/ 1944 h 1944"/>
              <a:gd name="T76" fmla="*/ 190 w 673"/>
              <a:gd name="T77" fmla="*/ 1932 h 1944"/>
              <a:gd name="T78" fmla="*/ 166 w 673"/>
              <a:gd name="T79" fmla="*/ 1901 h 1944"/>
              <a:gd name="T80" fmla="*/ 161 w 673"/>
              <a:gd name="T81" fmla="*/ 1308 h 1944"/>
              <a:gd name="T82" fmla="*/ 54 w 673"/>
              <a:gd name="T83" fmla="*/ 1306 h 1944"/>
              <a:gd name="T84" fmla="*/ 18 w 673"/>
              <a:gd name="T85" fmla="*/ 1288 h 1944"/>
              <a:gd name="T86" fmla="*/ 5 w 673"/>
              <a:gd name="T87" fmla="*/ 1265 h 1944"/>
              <a:gd name="T88" fmla="*/ 0 w 673"/>
              <a:gd name="T89" fmla="*/ 701 h 1944"/>
              <a:gd name="T90" fmla="*/ 5 w 673"/>
              <a:gd name="T91" fmla="*/ 676 h 1944"/>
              <a:gd name="T92" fmla="*/ 18 w 673"/>
              <a:gd name="T93" fmla="*/ 653 h 1944"/>
              <a:gd name="T94" fmla="*/ 54 w 673"/>
              <a:gd name="T95" fmla="*/ 635 h 1944"/>
              <a:gd name="T96" fmla="*/ 604 w 673"/>
              <a:gd name="T97" fmla="*/ 633 h 1944"/>
              <a:gd name="T98" fmla="*/ 642 w 673"/>
              <a:gd name="T99" fmla="*/ 645 h 1944"/>
              <a:gd name="T100" fmla="*/ 661 w 673"/>
              <a:gd name="T101" fmla="*/ 664 h 1944"/>
              <a:gd name="T102" fmla="*/ 673 w 673"/>
              <a:gd name="T103" fmla="*/ 701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3" h="1944">
                <a:moveTo>
                  <a:pt x="335" y="0"/>
                </a:moveTo>
                <a:lnTo>
                  <a:pt x="335" y="0"/>
                </a:lnTo>
                <a:lnTo>
                  <a:pt x="363" y="2"/>
                </a:lnTo>
                <a:lnTo>
                  <a:pt x="390" y="6"/>
                </a:lnTo>
                <a:lnTo>
                  <a:pt x="416" y="12"/>
                </a:lnTo>
                <a:lnTo>
                  <a:pt x="440" y="23"/>
                </a:lnTo>
                <a:lnTo>
                  <a:pt x="464" y="33"/>
                </a:lnTo>
                <a:lnTo>
                  <a:pt x="486" y="47"/>
                </a:lnTo>
                <a:lnTo>
                  <a:pt x="507" y="62"/>
                </a:lnTo>
                <a:lnTo>
                  <a:pt x="525" y="79"/>
                </a:lnTo>
                <a:lnTo>
                  <a:pt x="543" y="98"/>
                </a:lnTo>
                <a:lnTo>
                  <a:pt x="558" y="119"/>
                </a:lnTo>
                <a:lnTo>
                  <a:pt x="572" y="141"/>
                </a:lnTo>
                <a:lnTo>
                  <a:pt x="584" y="165"/>
                </a:lnTo>
                <a:lnTo>
                  <a:pt x="592" y="189"/>
                </a:lnTo>
                <a:lnTo>
                  <a:pt x="599" y="215"/>
                </a:lnTo>
                <a:lnTo>
                  <a:pt x="603" y="242"/>
                </a:lnTo>
                <a:lnTo>
                  <a:pt x="604" y="270"/>
                </a:lnTo>
                <a:lnTo>
                  <a:pt x="604" y="270"/>
                </a:lnTo>
                <a:lnTo>
                  <a:pt x="603" y="297"/>
                </a:lnTo>
                <a:lnTo>
                  <a:pt x="599" y="324"/>
                </a:lnTo>
                <a:lnTo>
                  <a:pt x="592" y="350"/>
                </a:lnTo>
                <a:lnTo>
                  <a:pt x="584" y="374"/>
                </a:lnTo>
                <a:lnTo>
                  <a:pt x="572" y="398"/>
                </a:lnTo>
                <a:lnTo>
                  <a:pt x="558" y="420"/>
                </a:lnTo>
                <a:lnTo>
                  <a:pt x="543" y="441"/>
                </a:lnTo>
                <a:lnTo>
                  <a:pt x="525" y="460"/>
                </a:lnTo>
                <a:lnTo>
                  <a:pt x="507" y="477"/>
                </a:lnTo>
                <a:lnTo>
                  <a:pt x="486" y="492"/>
                </a:lnTo>
                <a:lnTo>
                  <a:pt x="464" y="506"/>
                </a:lnTo>
                <a:lnTo>
                  <a:pt x="440" y="516"/>
                </a:lnTo>
                <a:lnTo>
                  <a:pt x="416" y="527"/>
                </a:lnTo>
                <a:lnTo>
                  <a:pt x="390" y="532"/>
                </a:lnTo>
                <a:lnTo>
                  <a:pt x="363" y="537"/>
                </a:lnTo>
                <a:lnTo>
                  <a:pt x="335" y="539"/>
                </a:lnTo>
                <a:lnTo>
                  <a:pt x="335" y="539"/>
                </a:lnTo>
                <a:lnTo>
                  <a:pt x="308" y="537"/>
                </a:lnTo>
                <a:lnTo>
                  <a:pt x="282" y="532"/>
                </a:lnTo>
                <a:lnTo>
                  <a:pt x="256" y="527"/>
                </a:lnTo>
                <a:lnTo>
                  <a:pt x="231" y="516"/>
                </a:lnTo>
                <a:lnTo>
                  <a:pt x="209" y="506"/>
                </a:lnTo>
                <a:lnTo>
                  <a:pt x="186" y="492"/>
                </a:lnTo>
                <a:lnTo>
                  <a:pt x="166" y="477"/>
                </a:lnTo>
                <a:lnTo>
                  <a:pt x="147" y="460"/>
                </a:lnTo>
                <a:lnTo>
                  <a:pt x="128" y="441"/>
                </a:lnTo>
                <a:lnTo>
                  <a:pt x="113" y="420"/>
                </a:lnTo>
                <a:lnTo>
                  <a:pt x="101" y="398"/>
                </a:lnTo>
                <a:lnTo>
                  <a:pt x="89" y="374"/>
                </a:lnTo>
                <a:lnTo>
                  <a:pt x="80" y="350"/>
                </a:lnTo>
                <a:lnTo>
                  <a:pt x="73" y="324"/>
                </a:lnTo>
                <a:lnTo>
                  <a:pt x="68" y="297"/>
                </a:lnTo>
                <a:lnTo>
                  <a:pt x="68" y="270"/>
                </a:lnTo>
                <a:lnTo>
                  <a:pt x="68" y="270"/>
                </a:lnTo>
                <a:lnTo>
                  <a:pt x="68" y="242"/>
                </a:lnTo>
                <a:lnTo>
                  <a:pt x="73" y="215"/>
                </a:lnTo>
                <a:lnTo>
                  <a:pt x="80" y="189"/>
                </a:lnTo>
                <a:lnTo>
                  <a:pt x="89" y="165"/>
                </a:lnTo>
                <a:lnTo>
                  <a:pt x="101" y="141"/>
                </a:lnTo>
                <a:lnTo>
                  <a:pt x="113" y="119"/>
                </a:lnTo>
                <a:lnTo>
                  <a:pt x="128" y="98"/>
                </a:lnTo>
                <a:lnTo>
                  <a:pt x="147" y="79"/>
                </a:lnTo>
                <a:lnTo>
                  <a:pt x="166" y="62"/>
                </a:lnTo>
                <a:lnTo>
                  <a:pt x="186" y="47"/>
                </a:lnTo>
                <a:lnTo>
                  <a:pt x="209" y="33"/>
                </a:lnTo>
                <a:lnTo>
                  <a:pt x="231" y="23"/>
                </a:lnTo>
                <a:lnTo>
                  <a:pt x="256" y="12"/>
                </a:lnTo>
                <a:lnTo>
                  <a:pt x="282" y="6"/>
                </a:lnTo>
                <a:lnTo>
                  <a:pt x="308" y="2"/>
                </a:lnTo>
                <a:lnTo>
                  <a:pt x="335" y="0"/>
                </a:lnTo>
                <a:lnTo>
                  <a:pt x="335" y="0"/>
                </a:lnTo>
                <a:close/>
                <a:moveTo>
                  <a:pt x="673" y="1240"/>
                </a:moveTo>
                <a:lnTo>
                  <a:pt x="673" y="1240"/>
                </a:lnTo>
                <a:lnTo>
                  <a:pt x="671" y="1252"/>
                </a:lnTo>
                <a:lnTo>
                  <a:pt x="668" y="1265"/>
                </a:lnTo>
                <a:lnTo>
                  <a:pt x="661" y="1277"/>
                </a:lnTo>
                <a:lnTo>
                  <a:pt x="652" y="1288"/>
                </a:lnTo>
                <a:lnTo>
                  <a:pt x="652" y="1288"/>
                </a:lnTo>
                <a:lnTo>
                  <a:pt x="642" y="1296"/>
                </a:lnTo>
                <a:lnTo>
                  <a:pt x="630" y="1303"/>
                </a:lnTo>
                <a:lnTo>
                  <a:pt x="618" y="1306"/>
                </a:lnTo>
                <a:lnTo>
                  <a:pt x="604" y="1308"/>
                </a:lnTo>
                <a:lnTo>
                  <a:pt x="522" y="1308"/>
                </a:lnTo>
                <a:lnTo>
                  <a:pt x="522" y="1875"/>
                </a:lnTo>
                <a:lnTo>
                  <a:pt x="522" y="1875"/>
                </a:lnTo>
                <a:lnTo>
                  <a:pt x="522" y="1889"/>
                </a:lnTo>
                <a:lnTo>
                  <a:pt x="517" y="1901"/>
                </a:lnTo>
                <a:lnTo>
                  <a:pt x="512" y="1913"/>
                </a:lnTo>
                <a:lnTo>
                  <a:pt x="503" y="1923"/>
                </a:lnTo>
                <a:lnTo>
                  <a:pt x="493" y="1932"/>
                </a:lnTo>
                <a:lnTo>
                  <a:pt x="481" y="1939"/>
                </a:lnTo>
                <a:lnTo>
                  <a:pt x="467" y="1942"/>
                </a:lnTo>
                <a:lnTo>
                  <a:pt x="453" y="1944"/>
                </a:lnTo>
                <a:lnTo>
                  <a:pt x="453" y="1944"/>
                </a:lnTo>
                <a:lnTo>
                  <a:pt x="440" y="1942"/>
                </a:lnTo>
                <a:lnTo>
                  <a:pt x="428" y="1939"/>
                </a:lnTo>
                <a:lnTo>
                  <a:pt x="416" y="1932"/>
                </a:lnTo>
                <a:lnTo>
                  <a:pt x="406" y="1923"/>
                </a:lnTo>
                <a:lnTo>
                  <a:pt x="397" y="1913"/>
                </a:lnTo>
                <a:lnTo>
                  <a:pt x="390" y="1901"/>
                </a:lnTo>
                <a:lnTo>
                  <a:pt x="387" y="1889"/>
                </a:lnTo>
                <a:lnTo>
                  <a:pt x="385" y="1875"/>
                </a:lnTo>
                <a:lnTo>
                  <a:pt x="385" y="1308"/>
                </a:lnTo>
                <a:lnTo>
                  <a:pt x="298" y="1308"/>
                </a:lnTo>
                <a:lnTo>
                  <a:pt x="298" y="1875"/>
                </a:lnTo>
                <a:lnTo>
                  <a:pt x="298" y="1875"/>
                </a:lnTo>
                <a:lnTo>
                  <a:pt x="296" y="1889"/>
                </a:lnTo>
                <a:lnTo>
                  <a:pt x="292" y="1901"/>
                </a:lnTo>
                <a:lnTo>
                  <a:pt x="286" y="1913"/>
                </a:lnTo>
                <a:lnTo>
                  <a:pt x="277" y="1923"/>
                </a:lnTo>
                <a:lnTo>
                  <a:pt x="267" y="1932"/>
                </a:lnTo>
                <a:lnTo>
                  <a:pt x="255" y="1939"/>
                </a:lnTo>
                <a:lnTo>
                  <a:pt x="243" y="1942"/>
                </a:lnTo>
                <a:lnTo>
                  <a:pt x="229" y="1944"/>
                </a:lnTo>
                <a:lnTo>
                  <a:pt x="229" y="1944"/>
                </a:lnTo>
                <a:lnTo>
                  <a:pt x="215" y="1942"/>
                </a:lnTo>
                <a:lnTo>
                  <a:pt x="202" y="1939"/>
                </a:lnTo>
                <a:lnTo>
                  <a:pt x="190" y="1932"/>
                </a:lnTo>
                <a:lnTo>
                  <a:pt x="179" y="1923"/>
                </a:lnTo>
                <a:lnTo>
                  <a:pt x="173" y="1913"/>
                </a:lnTo>
                <a:lnTo>
                  <a:pt x="166" y="1901"/>
                </a:lnTo>
                <a:lnTo>
                  <a:pt x="162" y="1889"/>
                </a:lnTo>
                <a:lnTo>
                  <a:pt x="161" y="1875"/>
                </a:lnTo>
                <a:lnTo>
                  <a:pt x="161" y="1308"/>
                </a:lnTo>
                <a:lnTo>
                  <a:pt x="68" y="1308"/>
                </a:lnTo>
                <a:lnTo>
                  <a:pt x="68" y="1308"/>
                </a:lnTo>
                <a:lnTo>
                  <a:pt x="54" y="1306"/>
                </a:lnTo>
                <a:lnTo>
                  <a:pt x="41" y="1303"/>
                </a:lnTo>
                <a:lnTo>
                  <a:pt x="29" y="1296"/>
                </a:lnTo>
                <a:lnTo>
                  <a:pt x="18" y="1288"/>
                </a:lnTo>
                <a:lnTo>
                  <a:pt x="18" y="1288"/>
                </a:lnTo>
                <a:lnTo>
                  <a:pt x="10" y="1277"/>
                </a:lnTo>
                <a:lnTo>
                  <a:pt x="5" y="1265"/>
                </a:lnTo>
                <a:lnTo>
                  <a:pt x="0" y="1252"/>
                </a:lnTo>
                <a:lnTo>
                  <a:pt x="0" y="1240"/>
                </a:lnTo>
                <a:lnTo>
                  <a:pt x="0" y="701"/>
                </a:lnTo>
                <a:lnTo>
                  <a:pt x="0" y="701"/>
                </a:lnTo>
                <a:lnTo>
                  <a:pt x="0" y="688"/>
                </a:lnTo>
                <a:lnTo>
                  <a:pt x="5" y="676"/>
                </a:lnTo>
                <a:lnTo>
                  <a:pt x="10" y="664"/>
                </a:lnTo>
                <a:lnTo>
                  <a:pt x="18" y="653"/>
                </a:lnTo>
                <a:lnTo>
                  <a:pt x="18" y="653"/>
                </a:lnTo>
                <a:lnTo>
                  <a:pt x="29" y="645"/>
                </a:lnTo>
                <a:lnTo>
                  <a:pt x="41" y="638"/>
                </a:lnTo>
                <a:lnTo>
                  <a:pt x="54" y="635"/>
                </a:lnTo>
                <a:lnTo>
                  <a:pt x="68" y="633"/>
                </a:lnTo>
                <a:lnTo>
                  <a:pt x="604" y="633"/>
                </a:lnTo>
                <a:lnTo>
                  <a:pt x="604" y="633"/>
                </a:lnTo>
                <a:lnTo>
                  <a:pt x="618" y="635"/>
                </a:lnTo>
                <a:lnTo>
                  <a:pt x="630" y="638"/>
                </a:lnTo>
                <a:lnTo>
                  <a:pt x="642" y="645"/>
                </a:lnTo>
                <a:lnTo>
                  <a:pt x="652" y="653"/>
                </a:lnTo>
                <a:lnTo>
                  <a:pt x="652" y="653"/>
                </a:lnTo>
                <a:lnTo>
                  <a:pt x="661" y="664"/>
                </a:lnTo>
                <a:lnTo>
                  <a:pt x="668" y="676"/>
                </a:lnTo>
                <a:lnTo>
                  <a:pt x="671" y="688"/>
                </a:lnTo>
                <a:lnTo>
                  <a:pt x="673" y="701"/>
                </a:lnTo>
                <a:lnTo>
                  <a:pt x="673" y="1240"/>
                </a:lnTo>
                <a:close/>
              </a:path>
            </a:pathLst>
          </a:custGeom>
          <a:solidFill>
            <a:srgbClr val="FB3449"/>
          </a:solidFill>
          <a:ln>
            <a:noFill/>
          </a:ln>
          <a:extLst/>
        </p:spPr>
        <p:txBody>
          <a:bodyPr vert="horz" wrap="square" lIns="91440" tIns="45720" rIns="91440" bIns="45720" numCol="1" anchor="t" anchorCtr="0" compatLnSpc="1">
            <a:prstTxWarp prst="textNoShape">
              <a:avLst/>
            </a:prstTxWarp>
          </a:bodyPr>
          <a:lstStyle/>
          <a:p>
            <a:pPr defTabSz="961813"/>
            <a:endParaRPr lang="en-GB" sz="1900">
              <a:solidFill>
                <a:srgbClr val="00BFD6"/>
              </a:solidFill>
            </a:endParaRPr>
          </a:p>
        </p:txBody>
      </p:sp>
      <p:sp>
        <p:nvSpPr>
          <p:cNvPr id="46" name="Freeform 50"/>
          <p:cNvSpPr>
            <a:spLocks noEditPoints="1"/>
          </p:cNvSpPr>
          <p:nvPr userDrawn="1"/>
        </p:nvSpPr>
        <p:spPr bwMode="auto">
          <a:xfrm>
            <a:off x="4026383" y="2267474"/>
            <a:ext cx="92652" cy="200393"/>
          </a:xfrm>
          <a:custGeom>
            <a:avLst/>
            <a:gdLst>
              <a:gd name="T0" fmla="*/ 363 w 673"/>
              <a:gd name="T1" fmla="*/ 2 h 1944"/>
              <a:gd name="T2" fmla="*/ 440 w 673"/>
              <a:gd name="T3" fmla="*/ 23 h 1944"/>
              <a:gd name="T4" fmla="*/ 507 w 673"/>
              <a:gd name="T5" fmla="*/ 62 h 1944"/>
              <a:gd name="T6" fmla="*/ 558 w 673"/>
              <a:gd name="T7" fmla="*/ 119 h 1944"/>
              <a:gd name="T8" fmla="*/ 592 w 673"/>
              <a:gd name="T9" fmla="*/ 189 h 1944"/>
              <a:gd name="T10" fmla="*/ 604 w 673"/>
              <a:gd name="T11" fmla="*/ 270 h 1944"/>
              <a:gd name="T12" fmla="*/ 599 w 673"/>
              <a:gd name="T13" fmla="*/ 324 h 1944"/>
              <a:gd name="T14" fmla="*/ 572 w 673"/>
              <a:gd name="T15" fmla="*/ 398 h 1944"/>
              <a:gd name="T16" fmla="*/ 525 w 673"/>
              <a:gd name="T17" fmla="*/ 460 h 1944"/>
              <a:gd name="T18" fmla="*/ 464 w 673"/>
              <a:gd name="T19" fmla="*/ 506 h 1944"/>
              <a:gd name="T20" fmla="*/ 390 w 673"/>
              <a:gd name="T21" fmla="*/ 532 h 1944"/>
              <a:gd name="T22" fmla="*/ 335 w 673"/>
              <a:gd name="T23" fmla="*/ 539 h 1944"/>
              <a:gd name="T24" fmla="*/ 256 w 673"/>
              <a:gd name="T25" fmla="*/ 527 h 1944"/>
              <a:gd name="T26" fmla="*/ 186 w 673"/>
              <a:gd name="T27" fmla="*/ 492 h 1944"/>
              <a:gd name="T28" fmla="*/ 128 w 673"/>
              <a:gd name="T29" fmla="*/ 441 h 1944"/>
              <a:gd name="T30" fmla="*/ 89 w 673"/>
              <a:gd name="T31" fmla="*/ 374 h 1944"/>
              <a:gd name="T32" fmla="*/ 68 w 673"/>
              <a:gd name="T33" fmla="*/ 297 h 1944"/>
              <a:gd name="T34" fmla="*/ 68 w 673"/>
              <a:gd name="T35" fmla="*/ 242 h 1944"/>
              <a:gd name="T36" fmla="*/ 89 w 673"/>
              <a:gd name="T37" fmla="*/ 165 h 1944"/>
              <a:gd name="T38" fmla="*/ 128 w 673"/>
              <a:gd name="T39" fmla="*/ 98 h 1944"/>
              <a:gd name="T40" fmla="*/ 186 w 673"/>
              <a:gd name="T41" fmla="*/ 47 h 1944"/>
              <a:gd name="T42" fmla="*/ 256 w 673"/>
              <a:gd name="T43" fmla="*/ 12 h 1944"/>
              <a:gd name="T44" fmla="*/ 335 w 673"/>
              <a:gd name="T45" fmla="*/ 0 h 1944"/>
              <a:gd name="T46" fmla="*/ 673 w 673"/>
              <a:gd name="T47" fmla="*/ 1240 h 1944"/>
              <a:gd name="T48" fmla="*/ 661 w 673"/>
              <a:gd name="T49" fmla="*/ 1277 h 1944"/>
              <a:gd name="T50" fmla="*/ 642 w 673"/>
              <a:gd name="T51" fmla="*/ 1296 h 1944"/>
              <a:gd name="T52" fmla="*/ 604 w 673"/>
              <a:gd name="T53" fmla="*/ 1308 h 1944"/>
              <a:gd name="T54" fmla="*/ 522 w 673"/>
              <a:gd name="T55" fmla="*/ 1875 h 1944"/>
              <a:gd name="T56" fmla="*/ 512 w 673"/>
              <a:gd name="T57" fmla="*/ 1913 h 1944"/>
              <a:gd name="T58" fmla="*/ 481 w 673"/>
              <a:gd name="T59" fmla="*/ 1939 h 1944"/>
              <a:gd name="T60" fmla="*/ 453 w 673"/>
              <a:gd name="T61" fmla="*/ 1944 h 1944"/>
              <a:gd name="T62" fmla="*/ 416 w 673"/>
              <a:gd name="T63" fmla="*/ 1932 h 1944"/>
              <a:gd name="T64" fmla="*/ 390 w 673"/>
              <a:gd name="T65" fmla="*/ 1901 h 1944"/>
              <a:gd name="T66" fmla="*/ 385 w 673"/>
              <a:gd name="T67" fmla="*/ 1308 h 1944"/>
              <a:gd name="T68" fmla="*/ 298 w 673"/>
              <a:gd name="T69" fmla="*/ 1875 h 1944"/>
              <a:gd name="T70" fmla="*/ 286 w 673"/>
              <a:gd name="T71" fmla="*/ 1913 h 1944"/>
              <a:gd name="T72" fmla="*/ 255 w 673"/>
              <a:gd name="T73" fmla="*/ 1939 h 1944"/>
              <a:gd name="T74" fmla="*/ 229 w 673"/>
              <a:gd name="T75" fmla="*/ 1944 h 1944"/>
              <a:gd name="T76" fmla="*/ 190 w 673"/>
              <a:gd name="T77" fmla="*/ 1932 h 1944"/>
              <a:gd name="T78" fmla="*/ 166 w 673"/>
              <a:gd name="T79" fmla="*/ 1901 h 1944"/>
              <a:gd name="T80" fmla="*/ 161 w 673"/>
              <a:gd name="T81" fmla="*/ 1308 h 1944"/>
              <a:gd name="T82" fmla="*/ 54 w 673"/>
              <a:gd name="T83" fmla="*/ 1306 h 1944"/>
              <a:gd name="T84" fmla="*/ 18 w 673"/>
              <a:gd name="T85" fmla="*/ 1288 h 1944"/>
              <a:gd name="T86" fmla="*/ 5 w 673"/>
              <a:gd name="T87" fmla="*/ 1265 h 1944"/>
              <a:gd name="T88" fmla="*/ 0 w 673"/>
              <a:gd name="T89" fmla="*/ 701 h 1944"/>
              <a:gd name="T90" fmla="*/ 5 w 673"/>
              <a:gd name="T91" fmla="*/ 676 h 1944"/>
              <a:gd name="T92" fmla="*/ 18 w 673"/>
              <a:gd name="T93" fmla="*/ 653 h 1944"/>
              <a:gd name="T94" fmla="*/ 54 w 673"/>
              <a:gd name="T95" fmla="*/ 635 h 1944"/>
              <a:gd name="T96" fmla="*/ 604 w 673"/>
              <a:gd name="T97" fmla="*/ 633 h 1944"/>
              <a:gd name="T98" fmla="*/ 642 w 673"/>
              <a:gd name="T99" fmla="*/ 645 h 1944"/>
              <a:gd name="T100" fmla="*/ 661 w 673"/>
              <a:gd name="T101" fmla="*/ 664 h 1944"/>
              <a:gd name="T102" fmla="*/ 673 w 673"/>
              <a:gd name="T103" fmla="*/ 701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3" h="1944">
                <a:moveTo>
                  <a:pt x="335" y="0"/>
                </a:moveTo>
                <a:lnTo>
                  <a:pt x="335" y="0"/>
                </a:lnTo>
                <a:lnTo>
                  <a:pt x="363" y="2"/>
                </a:lnTo>
                <a:lnTo>
                  <a:pt x="390" y="6"/>
                </a:lnTo>
                <a:lnTo>
                  <a:pt x="416" y="12"/>
                </a:lnTo>
                <a:lnTo>
                  <a:pt x="440" y="23"/>
                </a:lnTo>
                <a:lnTo>
                  <a:pt x="464" y="33"/>
                </a:lnTo>
                <a:lnTo>
                  <a:pt x="486" y="47"/>
                </a:lnTo>
                <a:lnTo>
                  <a:pt x="507" y="62"/>
                </a:lnTo>
                <a:lnTo>
                  <a:pt x="525" y="79"/>
                </a:lnTo>
                <a:lnTo>
                  <a:pt x="543" y="98"/>
                </a:lnTo>
                <a:lnTo>
                  <a:pt x="558" y="119"/>
                </a:lnTo>
                <a:lnTo>
                  <a:pt x="572" y="141"/>
                </a:lnTo>
                <a:lnTo>
                  <a:pt x="584" y="165"/>
                </a:lnTo>
                <a:lnTo>
                  <a:pt x="592" y="189"/>
                </a:lnTo>
                <a:lnTo>
                  <a:pt x="599" y="215"/>
                </a:lnTo>
                <a:lnTo>
                  <a:pt x="603" y="242"/>
                </a:lnTo>
                <a:lnTo>
                  <a:pt x="604" y="270"/>
                </a:lnTo>
                <a:lnTo>
                  <a:pt x="604" y="270"/>
                </a:lnTo>
                <a:lnTo>
                  <a:pt x="603" y="297"/>
                </a:lnTo>
                <a:lnTo>
                  <a:pt x="599" y="324"/>
                </a:lnTo>
                <a:lnTo>
                  <a:pt x="592" y="350"/>
                </a:lnTo>
                <a:lnTo>
                  <a:pt x="584" y="374"/>
                </a:lnTo>
                <a:lnTo>
                  <a:pt x="572" y="398"/>
                </a:lnTo>
                <a:lnTo>
                  <a:pt x="558" y="420"/>
                </a:lnTo>
                <a:lnTo>
                  <a:pt x="543" y="441"/>
                </a:lnTo>
                <a:lnTo>
                  <a:pt x="525" y="460"/>
                </a:lnTo>
                <a:lnTo>
                  <a:pt x="507" y="477"/>
                </a:lnTo>
                <a:lnTo>
                  <a:pt x="486" y="492"/>
                </a:lnTo>
                <a:lnTo>
                  <a:pt x="464" y="506"/>
                </a:lnTo>
                <a:lnTo>
                  <a:pt x="440" y="516"/>
                </a:lnTo>
                <a:lnTo>
                  <a:pt x="416" y="527"/>
                </a:lnTo>
                <a:lnTo>
                  <a:pt x="390" y="532"/>
                </a:lnTo>
                <a:lnTo>
                  <a:pt x="363" y="537"/>
                </a:lnTo>
                <a:lnTo>
                  <a:pt x="335" y="539"/>
                </a:lnTo>
                <a:lnTo>
                  <a:pt x="335" y="539"/>
                </a:lnTo>
                <a:lnTo>
                  <a:pt x="308" y="537"/>
                </a:lnTo>
                <a:lnTo>
                  <a:pt x="282" y="532"/>
                </a:lnTo>
                <a:lnTo>
                  <a:pt x="256" y="527"/>
                </a:lnTo>
                <a:lnTo>
                  <a:pt x="231" y="516"/>
                </a:lnTo>
                <a:lnTo>
                  <a:pt x="209" y="506"/>
                </a:lnTo>
                <a:lnTo>
                  <a:pt x="186" y="492"/>
                </a:lnTo>
                <a:lnTo>
                  <a:pt x="166" y="477"/>
                </a:lnTo>
                <a:lnTo>
                  <a:pt x="147" y="460"/>
                </a:lnTo>
                <a:lnTo>
                  <a:pt x="128" y="441"/>
                </a:lnTo>
                <a:lnTo>
                  <a:pt x="113" y="420"/>
                </a:lnTo>
                <a:lnTo>
                  <a:pt x="101" y="398"/>
                </a:lnTo>
                <a:lnTo>
                  <a:pt x="89" y="374"/>
                </a:lnTo>
                <a:lnTo>
                  <a:pt x="80" y="350"/>
                </a:lnTo>
                <a:lnTo>
                  <a:pt x="73" y="324"/>
                </a:lnTo>
                <a:lnTo>
                  <a:pt x="68" y="297"/>
                </a:lnTo>
                <a:lnTo>
                  <a:pt x="68" y="270"/>
                </a:lnTo>
                <a:lnTo>
                  <a:pt x="68" y="270"/>
                </a:lnTo>
                <a:lnTo>
                  <a:pt x="68" y="242"/>
                </a:lnTo>
                <a:lnTo>
                  <a:pt x="73" y="215"/>
                </a:lnTo>
                <a:lnTo>
                  <a:pt x="80" y="189"/>
                </a:lnTo>
                <a:lnTo>
                  <a:pt x="89" y="165"/>
                </a:lnTo>
                <a:lnTo>
                  <a:pt x="101" y="141"/>
                </a:lnTo>
                <a:lnTo>
                  <a:pt x="113" y="119"/>
                </a:lnTo>
                <a:lnTo>
                  <a:pt x="128" y="98"/>
                </a:lnTo>
                <a:lnTo>
                  <a:pt x="147" y="79"/>
                </a:lnTo>
                <a:lnTo>
                  <a:pt x="166" y="62"/>
                </a:lnTo>
                <a:lnTo>
                  <a:pt x="186" y="47"/>
                </a:lnTo>
                <a:lnTo>
                  <a:pt x="209" y="33"/>
                </a:lnTo>
                <a:lnTo>
                  <a:pt x="231" y="23"/>
                </a:lnTo>
                <a:lnTo>
                  <a:pt x="256" y="12"/>
                </a:lnTo>
                <a:lnTo>
                  <a:pt x="282" y="6"/>
                </a:lnTo>
                <a:lnTo>
                  <a:pt x="308" y="2"/>
                </a:lnTo>
                <a:lnTo>
                  <a:pt x="335" y="0"/>
                </a:lnTo>
                <a:lnTo>
                  <a:pt x="335" y="0"/>
                </a:lnTo>
                <a:close/>
                <a:moveTo>
                  <a:pt x="673" y="1240"/>
                </a:moveTo>
                <a:lnTo>
                  <a:pt x="673" y="1240"/>
                </a:lnTo>
                <a:lnTo>
                  <a:pt x="671" y="1252"/>
                </a:lnTo>
                <a:lnTo>
                  <a:pt x="668" y="1265"/>
                </a:lnTo>
                <a:lnTo>
                  <a:pt x="661" y="1277"/>
                </a:lnTo>
                <a:lnTo>
                  <a:pt x="652" y="1288"/>
                </a:lnTo>
                <a:lnTo>
                  <a:pt x="652" y="1288"/>
                </a:lnTo>
                <a:lnTo>
                  <a:pt x="642" y="1296"/>
                </a:lnTo>
                <a:lnTo>
                  <a:pt x="630" y="1303"/>
                </a:lnTo>
                <a:lnTo>
                  <a:pt x="618" y="1306"/>
                </a:lnTo>
                <a:lnTo>
                  <a:pt x="604" y="1308"/>
                </a:lnTo>
                <a:lnTo>
                  <a:pt x="522" y="1308"/>
                </a:lnTo>
                <a:lnTo>
                  <a:pt x="522" y="1875"/>
                </a:lnTo>
                <a:lnTo>
                  <a:pt x="522" y="1875"/>
                </a:lnTo>
                <a:lnTo>
                  <a:pt x="522" y="1889"/>
                </a:lnTo>
                <a:lnTo>
                  <a:pt x="517" y="1901"/>
                </a:lnTo>
                <a:lnTo>
                  <a:pt x="512" y="1913"/>
                </a:lnTo>
                <a:lnTo>
                  <a:pt x="503" y="1923"/>
                </a:lnTo>
                <a:lnTo>
                  <a:pt x="493" y="1932"/>
                </a:lnTo>
                <a:lnTo>
                  <a:pt x="481" y="1939"/>
                </a:lnTo>
                <a:lnTo>
                  <a:pt x="467" y="1942"/>
                </a:lnTo>
                <a:lnTo>
                  <a:pt x="453" y="1944"/>
                </a:lnTo>
                <a:lnTo>
                  <a:pt x="453" y="1944"/>
                </a:lnTo>
                <a:lnTo>
                  <a:pt x="440" y="1942"/>
                </a:lnTo>
                <a:lnTo>
                  <a:pt x="428" y="1939"/>
                </a:lnTo>
                <a:lnTo>
                  <a:pt x="416" y="1932"/>
                </a:lnTo>
                <a:lnTo>
                  <a:pt x="406" y="1923"/>
                </a:lnTo>
                <a:lnTo>
                  <a:pt x="397" y="1913"/>
                </a:lnTo>
                <a:lnTo>
                  <a:pt x="390" y="1901"/>
                </a:lnTo>
                <a:lnTo>
                  <a:pt x="387" y="1889"/>
                </a:lnTo>
                <a:lnTo>
                  <a:pt x="385" y="1875"/>
                </a:lnTo>
                <a:lnTo>
                  <a:pt x="385" y="1308"/>
                </a:lnTo>
                <a:lnTo>
                  <a:pt x="298" y="1308"/>
                </a:lnTo>
                <a:lnTo>
                  <a:pt x="298" y="1875"/>
                </a:lnTo>
                <a:lnTo>
                  <a:pt x="298" y="1875"/>
                </a:lnTo>
                <a:lnTo>
                  <a:pt x="296" y="1889"/>
                </a:lnTo>
                <a:lnTo>
                  <a:pt x="292" y="1901"/>
                </a:lnTo>
                <a:lnTo>
                  <a:pt x="286" y="1913"/>
                </a:lnTo>
                <a:lnTo>
                  <a:pt x="277" y="1923"/>
                </a:lnTo>
                <a:lnTo>
                  <a:pt x="267" y="1932"/>
                </a:lnTo>
                <a:lnTo>
                  <a:pt x="255" y="1939"/>
                </a:lnTo>
                <a:lnTo>
                  <a:pt x="243" y="1942"/>
                </a:lnTo>
                <a:lnTo>
                  <a:pt x="229" y="1944"/>
                </a:lnTo>
                <a:lnTo>
                  <a:pt x="229" y="1944"/>
                </a:lnTo>
                <a:lnTo>
                  <a:pt x="215" y="1942"/>
                </a:lnTo>
                <a:lnTo>
                  <a:pt x="202" y="1939"/>
                </a:lnTo>
                <a:lnTo>
                  <a:pt x="190" y="1932"/>
                </a:lnTo>
                <a:lnTo>
                  <a:pt x="179" y="1923"/>
                </a:lnTo>
                <a:lnTo>
                  <a:pt x="173" y="1913"/>
                </a:lnTo>
                <a:lnTo>
                  <a:pt x="166" y="1901"/>
                </a:lnTo>
                <a:lnTo>
                  <a:pt x="162" y="1889"/>
                </a:lnTo>
                <a:lnTo>
                  <a:pt x="161" y="1875"/>
                </a:lnTo>
                <a:lnTo>
                  <a:pt x="161" y="1308"/>
                </a:lnTo>
                <a:lnTo>
                  <a:pt x="68" y="1308"/>
                </a:lnTo>
                <a:lnTo>
                  <a:pt x="68" y="1308"/>
                </a:lnTo>
                <a:lnTo>
                  <a:pt x="54" y="1306"/>
                </a:lnTo>
                <a:lnTo>
                  <a:pt x="41" y="1303"/>
                </a:lnTo>
                <a:lnTo>
                  <a:pt x="29" y="1296"/>
                </a:lnTo>
                <a:lnTo>
                  <a:pt x="18" y="1288"/>
                </a:lnTo>
                <a:lnTo>
                  <a:pt x="18" y="1288"/>
                </a:lnTo>
                <a:lnTo>
                  <a:pt x="10" y="1277"/>
                </a:lnTo>
                <a:lnTo>
                  <a:pt x="5" y="1265"/>
                </a:lnTo>
                <a:lnTo>
                  <a:pt x="0" y="1252"/>
                </a:lnTo>
                <a:lnTo>
                  <a:pt x="0" y="1240"/>
                </a:lnTo>
                <a:lnTo>
                  <a:pt x="0" y="701"/>
                </a:lnTo>
                <a:lnTo>
                  <a:pt x="0" y="701"/>
                </a:lnTo>
                <a:lnTo>
                  <a:pt x="0" y="688"/>
                </a:lnTo>
                <a:lnTo>
                  <a:pt x="5" y="676"/>
                </a:lnTo>
                <a:lnTo>
                  <a:pt x="10" y="664"/>
                </a:lnTo>
                <a:lnTo>
                  <a:pt x="18" y="653"/>
                </a:lnTo>
                <a:lnTo>
                  <a:pt x="18" y="653"/>
                </a:lnTo>
                <a:lnTo>
                  <a:pt x="29" y="645"/>
                </a:lnTo>
                <a:lnTo>
                  <a:pt x="41" y="638"/>
                </a:lnTo>
                <a:lnTo>
                  <a:pt x="54" y="635"/>
                </a:lnTo>
                <a:lnTo>
                  <a:pt x="68" y="633"/>
                </a:lnTo>
                <a:lnTo>
                  <a:pt x="604" y="633"/>
                </a:lnTo>
                <a:lnTo>
                  <a:pt x="604" y="633"/>
                </a:lnTo>
                <a:lnTo>
                  <a:pt x="618" y="635"/>
                </a:lnTo>
                <a:lnTo>
                  <a:pt x="630" y="638"/>
                </a:lnTo>
                <a:lnTo>
                  <a:pt x="642" y="645"/>
                </a:lnTo>
                <a:lnTo>
                  <a:pt x="652" y="653"/>
                </a:lnTo>
                <a:lnTo>
                  <a:pt x="652" y="653"/>
                </a:lnTo>
                <a:lnTo>
                  <a:pt x="661" y="664"/>
                </a:lnTo>
                <a:lnTo>
                  <a:pt x="668" y="676"/>
                </a:lnTo>
                <a:lnTo>
                  <a:pt x="671" y="688"/>
                </a:lnTo>
                <a:lnTo>
                  <a:pt x="673" y="701"/>
                </a:lnTo>
                <a:lnTo>
                  <a:pt x="673" y="1240"/>
                </a:lnTo>
                <a:close/>
              </a:path>
            </a:pathLst>
          </a:custGeom>
          <a:solidFill>
            <a:srgbClr val="FB3449"/>
          </a:solidFill>
          <a:ln>
            <a:noFill/>
          </a:ln>
          <a:extLst/>
        </p:spPr>
        <p:txBody>
          <a:bodyPr vert="horz" wrap="square" lIns="91440" tIns="45720" rIns="91440" bIns="45720" numCol="1" anchor="t" anchorCtr="0" compatLnSpc="1">
            <a:prstTxWarp prst="textNoShape">
              <a:avLst/>
            </a:prstTxWarp>
          </a:bodyPr>
          <a:lstStyle/>
          <a:p>
            <a:pPr defTabSz="961813"/>
            <a:endParaRPr lang="en-GB" sz="1900">
              <a:solidFill>
                <a:srgbClr val="00BFD6"/>
              </a:solidFill>
            </a:endParaRPr>
          </a:p>
        </p:txBody>
      </p:sp>
      <p:sp>
        <p:nvSpPr>
          <p:cNvPr id="47" name="Freeform 52"/>
          <p:cNvSpPr>
            <a:spLocks noEditPoints="1"/>
          </p:cNvSpPr>
          <p:nvPr userDrawn="1"/>
        </p:nvSpPr>
        <p:spPr bwMode="auto">
          <a:xfrm>
            <a:off x="6672742" y="5670427"/>
            <a:ext cx="411798" cy="202253"/>
          </a:xfrm>
          <a:custGeom>
            <a:avLst/>
            <a:gdLst>
              <a:gd name="T0" fmla="*/ 957 w 1994"/>
              <a:gd name="T1" fmla="*/ 1044 h 1306"/>
              <a:gd name="T2" fmla="*/ 1079 w 1994"/>
              <a:gd name="T3" fmla="*/ 705 h 1306"/>
              <a:gd name="T4" fmla="*/ 766 w 1994"/>
              <a:gd name="T5" fmla="*/ 597 h 1306"/>
              <a:gd name="T6" fmla="*/ 855 w 1994"/>
              <a:gd name="T7" fmla="*/ 558 h 1306"/>
              <a:gd name="T8" fmla="*/ 879 w 1994"/>
              <a:gd name="T9" fmla="*/ 448 h 1306"/>
              <a:gd name="T10" fmla="*/ 868 w 1994"/>
              <a:gd name="T11" fmla="*/ 326 h 1306"/>
              <a:gd name="T12" fmla="*/ 824 w 1994"/>
              <a:gd name="T13" fmla="*/ 270 h 1306"/>
              <a:gd name="T14" fmla="*/ 755 w 1994"/>
              <a:gd name="T15" fmla="*/ 546 h 1306"/>
              <a:gd name="T16" fmla="*/ 774 w 1994"/>
              <a:gd name="T17" fmla="*/ 312 h 1306"/>
              <a:gd name="T18" fmla="*/ 803 w 1994"/>
              <a:gd name="T19" fmla="*/ 364 h 1306"/>
              <a:gd name="T20" fmla="*/ 802 w 1994"/>
              <a:gd name="T21" fmla="*/ 503 h 1306"/>
              <a:gd name="T22" fmla="*/ 769 w 1994"/>
              <a:gd name="T23" fmla="*/ 544 h 1306"/>
              <a:gd name="T24" fmla="*/ 1101 w 1994"/>
              <a:gd name="T25" fmla="*/ 489 h 1306"/>
              <a:gd name="T26" fmla="*/ 1004 w 1994"/>
              <a:gd name="T27" fmla="*/ 336 h 1306"/>
              <a:gd name="T28" fmla="*/ 1199 w 1994"/>
              <a:gd name="T29" fmla="*/ 597 h 1306"/>
              <a:gd name="T30" fmla="*/ 341 w 1994"/>
              <a:gd name="T31" fmla="*/ 856 h 1306"/>
              <a:gd name="T32" fmla="*/ 445 w 1994"/>
              <a:gd name="T33" fmla="*/ 779 h 1306"/>
              <a:gd name="T34" fmla="*/ 651 w 1994"/>
              <a:gd name="T35" fmla="*/ 713 h 1306"/>
              <a:gd name="T36" fmla="*/ 608 w 1994"/>
              <a:gd name="T37" fmla="*/ 779 h 1306"/>
              <a:gd name="T38" fmla="*/ 603 w 1994"/>
              <a:gd name="T39" fmla="*/ 940 h 1306"/>
              <a:gd name="T40" fmla="*/ 639 w 1994"/>
              <a:gd name="T41" fmla="*/ 1027 h 1306"/>
              <a:gd name="T42" fmla="*/ 718 w 1994"/>
              <a:gd name="T43" fmla="*/ 1049 h 1306"/>
              <a:gd name="T44" fmla="*/ 807 w 1994"/>
              <a:gd name="T45" fmla="*/ 1017 h 1306"/>
              <a:gd name="T46" fmla="*/ 834 w 1994"/>
              <a:gd name="T47" fmla="*/ 907 h 1306"/>
              <a:gd name="T48" fmla="*/ 826 w 1994"/>
              <a:gd name="T49" fmla="*/ 765 h 1306"/>
              <a:gd name="T50" fmla="*/ 772 w 1994"/>
              <a:gd name="T51" fmla="*/ 708 h 1306"/>
              <a:gd name="T52" fmla="*/ 718 w 1994"/>
              <a:gd name="T53" fmla="*/ 998 h 1306"/>
              <a:gd name="T54" fmla="*/ 680 w 1994"/>
              <a:gd name="T55" fmla="*/ 969 h 1306"/>
              <a:gd name="T56" fmla="*/ 673 w 1994"/>
              <a:gd name="T57" fmla="*/ 844 h 1306"/>
              <a:gd name="T58" fmla="*/ 694 w 1994"/>
              <a:gd name="T59" fmla="*/ 756 h 1306"/>
              <a:gd name="T60" fmla="*/ 736 w 1994"/>
              <a:gd name="T61" fmla="*/ 755 h 1306"/>
              <a:gd name="T62" fmla="*/ 762 w 1994"/>
              <a:gd name="T63" fmla="*/ 818 h 1306"/>
              <a:gd name="T64" fmla="*/ 759 w 1994"/>
              <a:gd name="T65" fmla="*/ 952 h 1306"/>
              <a:gd name="T66" fmla="*/ 731 w 1994"/>
              <a:gd name="T67" fmla="*/ 996 h 1306"/>
              <a:gd name="T68" fmla="*/ 406 w 1994"/>
              <a:gd name="T69" fmla="*/ 597 h 1306"/>
              <a:gd name="T70" fmla="*/ 438 w 1994"/>
              <a:gd name="T71" fmla="*/ 470 h 1306"/>
              <a:gd name="T72" fmla="*/ 1590 w 1994"/>
              <a:gd name="T73" fmla="*/ 707 h 1306"/>
              <a:gd name="T74" fmla="*/ 1665 w 1994"/>
              <a:gd name="T75" fmla="*/ 938 h 1306"/>
              <a:gd name="T76" fmla="*/ 1968 w 1994"/>
              <a:gd name="T77" fmla="*/ 1061 h 1306"/>
              <a:gd name="T78" fmla="*/ 1838 w 1994"/>
              <a:gd name="T79" fmla="*/ 1116 h 1306"/>
              <a:gd name="T80" fmla="*/ 1759 w 1994"/>
              <a:gd name="T81" fmla="*/ 1235 h 1306"/>
              <a:gd name="T82" fmla="*/ 247 w 1994"/>
              <a:gd name="T83" fmla="*/ 1282 h 1306"/>
              <a:gd name="T84" fmla="*/ 192 w 1994"/>
              <a:gd name="T85" fmla="*/ 1151 h 1306"/>
              <a:gd name="T86" fmla="*/ 73 w 1994"/>
              <a:gd name="T87" fmla="*/ 1072 h 1306"/>
              <a:gd name="T88" fmla="*/ 26 w 1994"/>
              <a:gd name="T89" fmla="*/ 247 h 1306"/>
              <a:gd name="T90" fmla="*/ 157 w 1994"/>
              <a:gd name="T91" fmla="*/ 191 h 1306"/>
              <a:gd name="T92" fmla="*/ 236 w 1994"/>
              <a:gd name="T93" fmla="*/ 74 h 1306"/>
              <a:gd name="T94" fmla="*/ 1749 w 1994"/>
              <a:gd name="T95" fmla="*/ 26 h 1306"/>
              <a:gd name="T96" fmla="*/ 1804 w 1994"/>
              <a:gd name="T97" fmla="*/ 158 h 1306"/>
              <a:gd name="T98" fmla="*/ 1920 w 1994"/>
              <a:gd name="T99" fmla="*/ 237 h 1306"/>
              <a:gd name="T100" fmla="*/ 1398 w 1994"/>
              <a:gd name="T101" fmla="*/ 597 h 1306"/>
              <a:gd name="T102" fmla="*/ 1381 w 1994"/>
              <a:gd name="T103" fmla="*/ 840 h 1306"/>
              <a:gd name="T104" fmla="*/ 1204 w 1994"/>
              <a:gd name="T105" fmla="*/ 1044 h 1306"/>
              <a:gd name="T106" fmla="*/ 1579 w 1994"/>
              <a:gd name="T107" fmla="*/ 597 h 1306"/>
              <a:gd name="T108" fmla="*/ 1509 w 1994"/>
              <a:gd name="T109" fmla="*/ 314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94" h="1306">
                <a:moveTo>
                  <a:pt x="1079" y="940"/>
                </a:moveTo>
                <a:lnTo>
                  <a:pt x="1077" y="940"/>
                </a:lnTo>
                <a:lnTo>
                  <a:pt x="988" y="705"/>
                </a:lnTo>
                <a:lnTo>
                  <a:pt x="892" y="705"/>
                </a:lnTo>
                <a:lnTo>
                  <a:pt x="892" y="1044"/>
                </a:lnTo>
                <a:lnTo>
                  <a:pt x="957" y="1044"/>
                </a:lnTo>
                <a:lnTo>
                  <a:pt x="957" y="796"/>
                </a:lnTo>
                <a:lnTo>
                  <a:pt x="959" y="796"/>
                </a:lnTo>
                <a:lnTo>
                  <a:pt x="1052" y="1044"/>
                </a:lnTo>
                <a:lnTo>
                  <a:pt x="1144" y="1044"/>
                </a:lnTo>
                <a:lnTo>
                  <a:pt x="1144" y="705"/>
                </a:lnTo>
                <a:lnTo>
                  <a:pt x="1079" y="705"/>
                </a:lnTo>
                <a:lnTo>
                  <a:pt x="1079" y="940"/>
                </a:lnTo>
                <a:close/>
                <a:moveTo>
                  <a:pt x="767" y="258"/>
                </a:moveTo>
                <a:lnTo>
                  <a:pt x="649" y="258"/>
                </a:lnTo>
                <a:lnTo>
                  <a:pt x="649" y="597"/>
                </a:lnTo>
                <a:lnTo>
                  <a:pt x="766" y="597"/>
                </a:lnTo>
                <a:lnTo>
                  <a:pt x="766" y="597"/>
                </a:lnTo>
                <a:lnTo>
                  <a:pt x="786" y="597"/>
                </a:lnTo>
                <a:lnTo>
                  <a:pt x="805" y="592"/>
                </a:lnTo>
                <a:lnTo>
                  <a:pt x="820" y="587"/>
                </a:lnTo>
                <a:lnTo>
                  <a:pt x="834" y="578"/>
                </a:lnTo>
                <a:lnTo>
                  <a:pt x="844" y="568"/>
                </a:lnTo>
                <a:lnTo>
                  <a:pt x="855" y="558"/>
                </a:lnTo>
                <a:lnTo>
                  <a:pt x="862" y="544"/>
                </a:lnTo>
                <a:lnTo>
                  <a:pt x="867" y="532"/>
                </a:lnTo>
                <a:lnTo>
                  <a:pt x="872" y="518"/>
                </a:lnTo>
                <a:lnTo>
                  <a:pt x="875" y="503"/>
                </a:lnTo>
                <a:lnTo>
                  <a:pt x="877" y="475"/>
                </a:lnTo>
                <a:lnTo>
                  <a:pt x="879" y="448"/>
                </a:lnTo>
                <a:lnTo>
                  <a:pt x="879" y="426"/>
                </a:lnTo>
                <a:lnTo>
                  <a:pt x="879" y="426"/>
                </a:lnTo>
                <a:lnTo>
                  <a:pt x="877" y="388"/>
                </a:lnTo>
                <a:lnTo>
                  <a:pt x="874" y="355"/>
                </a:lnTo>
                <a:lnTo>
                  <a:pt x="872" y="340"/>
                </a:lnTo>
                <a:lnTo>
                  <a:pt x="868" y="326"/>
                </a:lnTo>
                <a:lnTo>
                  <a:pt x="863" y="314"/>
                </a:lnTo>
                <a:lnTo>
                  <a:pt x="858" y="302"/>
                </a:lnTo>
                <a:lnTo>
                  <a:pt x="851" y="292"/>
                </a:lnTo>
                <a:lnTo>
                  <a:pt x="844" y="283"/>
                </a:lnTo>
                <a:lnTo>
                  <a:pt x="834" y="276"/>
                </a:lnTo>
                <a:lnTo>
                  <a:pt x="824" y="270"/>
                </a:lnTo>
                <a:lnTo>
                  <a:pt x="814" y="264"/>
                </a:lnTo>
                <a:lnTo>
                  <a:pt x="800" y="261"/>
                </a:lnTo>
                <a:lnTo>
                  <a:pt x="784" y="259"/>
                </a:lnTo>
                <a:lnTo>
                  <a:pt x="767" y="258"/>
                </a:lnTo>
                <a:lnTo>
                  <a:pt x="767" y="258"/>
                </a:lnTo>
                <a:close/>
                <a:moveTo>
                  <a:pt x="755" y="546"/>
                </a:moveTo>
                <a:lnTo>
                  <a:pt x="721" y="546"/>
                </a:lnTo>
                <a:lnTo>
                  <a:pt x="721" y="311"/>
                </a:lnTo>
                <a:lnTo>
                  <a:pt x="757" y="311"/>
                </a:lnTo>
                <a:lnTo>
                  <a:pt x="757" y="311"/>
                </a:lnTo>
                <a:lnTo>
                  <a:pt x="766" y="311"/>
                </a:lnTo>
                <a:lnTo>
                  <a:pt x="774" y="312"/>
                </a:lnTo>
                <a:lnTo>
                  <a:pt x="779" y="316"/>
                </a:lnTo>
                <a:lnTo>
                  <a:pt x="786" y="319"/>
                </a:lnTo>
                <a:lnTo>
                  <a:pt x="791" y="324"/>
                </a:lnTo>
                <a:lnTo>
                  <a:pt x="795" y="331"/>
                </a:lnTo>
                <a:lnTo>
                  <a:pt x="800" y="345"/>
                </a:lnTo>
                <a:lnTo>
                  <a:pt x="803" y="364"/>
                </a:lnTo>
                <a:lnTo>
                  <a:pt x="805" y="383"/>
                </a:lnTo>
                <a:lnTo>
                  <a:pt x="807" y="427"/>
                </a:lnTo>
                <a:lnTo>
                  <a:pt x="807" y="427"/>
                </a:lnTo>
                <a:lnTo>
                  <a:pt x="807" y="458"/>
                </a:lnTo>
                <a:lnTo>
                  <a:pt x="805" y="482"/>
                </a:lnTo>
                <a:lnTo>
                  <a:pt x="802" y="503"/>
                </a:lnTo>
                <a:lnTo>
                  <a:pt x="796" y="518"/>
                </a:lnTo>
                <a:lnTo>
                  <a:pt x="790" y="530"/>
                </a:lnTo>
                <a:lnTo>
                  <a:pt x="786" y="535"/>
                </a:lnTo>
                <a:lnTo>
                  <a:pt x="781" y="539"/>
                </a:lnTo>
                <a:lnTo>
                  <a:pt x="776" y="542"/>
                </a:lnTo>
                <a:lnTo>
                  <a:pt x="769" y="544"/>
                </a:lnTo>
                <a:lnTo>
                  <a:pt x="755" y="546"/>
                </a:lnTo>
                <a:lnTo>
                  <a:pt x="755" y="546"/>
                </a:lnTo>
                <a:close/>
                <a:moveTo>
                  <a:pt x="1269" y="597"/>
                </a:moveTo>
                <a:lnTo>
                  <a:pt x="1269" y="258"/>
                </a:lnTo>
                <a:lnTo>
                  <a:pt x="1158" y="258"/>
                </a:lnTo>
                <a:lnTo>
                  <a:pt x="1101" y="489"/>
                </a:lnTo>
                <a:lnTo>
                  <a:pt x="1101" y="489"/>
                </a:lnTo>
                <a:lnTo>
                  <a:pt x="1048" y="258"/>
                </a:lnTo>
                <a:lnTo>
                  <a:pt x="933" y="258"/>
                </a:lnTo>
                <a:lnTo>
                  <a:pt x="933" y="597"/>
                </a:lnTo>
                <a:lnTo>
                  <a:pt x="1004" y="597"/>
                </a:lnTo>
                <a:lnTo>
                  <a:pt x="1004" y="336"/>
                </a:lnTo>
                <a:lnTo>
                  <a:pt x="1004" y="336"/>
                </a:lnTo>
                <a:lnTo>
                  <a:pt x="1065" y="597"/>
                </a:lnTo>
                <a:lnTo>
                  <a:pt x="1134" y="597"/>
                </a:lnTo>
                <a:lnTo>
                  <a:pt x="1199" y="336"/>
                </a:lnTo>
                <a:lnTo>
                  <a:pt x="1199" y="336"/>
                </a:lnTo>
                <a:lnTo>
                  <a:pt x="1199" y="597"/>
                </a:lnTo>
                <a:lnTo>
                  <a:pt x="1269" y="597"/>
                </a:lnTo>
                <a:close/>
                <a:moveTo>
                  <a:pt x="445" y="779"/>
                </a:moveTo>
                <a:lnTo>
                  <a:pt x="404" y="707"/>
                </a:lnTo>
                <a:lnTo>
                  <a:pt x="365" y="780"/>
                </a:lnTo>
                <a:lnTo>
                  <a:pt x="282" y="796"/>
                </a:lnTo>
                <a:lnTo>
                  <a:pt x="341" y="856"/>
                </a:lnTo>
                <a:lnTo>
                  <a:pt x="330" y="940"/>
                </a:lnTo>
                <a:lnTo>
                  <a:pt x="406" y="904"/>
                </a:lnTo>
                <a:lnTo>
                  <a:pt x="481" y="938"/>
                </a:lnTo>
                <a:lnTo>
                  <a:pt x="469" y="856"/>
                </a:lnTo>
                <a:lnTo>
                  <a:pt x="526" y="794"/>
                </a:lnTo>
                <a:lnTo>
                  <a:pt x="445" y="779"/>
                </a:lnTo>
                <a:close/>
                <a:moveTo>
                  <a:pt x="718" y="700"/>
                </a:moveTo>
                <a:lnTo>
                  <a:pt x="718" y="700"/>
                </a:lnTo>
                <a:lnTo>
                  <a:pt x="697" y="700"/>
                </a:lnTo>
                <a:lnTo>
                  <a:pt x="680" y="703"/>
                </a:lnTo>
                <a:lnTo>
                  <a:pt x="665" y="708"/>
                </a:lnTo>
                <a:lnTo>
                  <a:pt x="651" y="713"/>
                </a:lnTo>
                <a:lnTo>
                  <a:pt x="639" y="722"/>
                </a:lnTo>
                <a:lnTo>
                  <a:pt x="630" y="731"/>
                </a:lnTo>
                <a:lnTo>
                  <a:pt x="622" y="741"/>
                </a:lnTo>
                <a:lnTo>
                  <a:pt x="615" y="753"/>
                </a:lnTo>
                <a:lnTo>
                  <a:pt x="611" y="765"/>
                </a:lnTo>
                <a:lnTo>
                  <a:pt x="608" y="779"/>
                </a:lnTo>
                <a:lnTo>
                  <a:pt x="603" y="809"/>
                </a:lnTo>
                <a:lnTo>
                  <a:pt x="601" y="840"/>
                </a:lnTo>
                <a:lnTo>
                  <a:pt x="601" y="875"/>
                </a:lnTo>
                <a:lnTo>
                  <a:pt x="601" y="875"/>
                </a:lnTo>
                <a:lnTo>
                  <a:pt x="601" y="907"/>
                </a:lnTo>
                <a:lnTo>
                  <a:pt x="603" y="940"/>
                </a:lnTo>
                <a:lnTo>
                  <a:pt x="608" y="969"/>
                </a:lnTo>
                <a:lnTo>
                  <a:pt x="611" y="983"/>
                </a:lnTo>
                <a:lnTo>
                  <a:pt x="615" y="995"/>
                </a:lnTo>
                <a:lnTo>
                  <a:pt x="622" y="1007"/>
                </a:lnTo>
                <a:lnTo>
                  <a:pt x="630" y="1017"/>
                </a:lnTo>
                <a:lnTo>
                  <a:pt x="639" y="1027"/>
                </a:lnTo>
                <a:lnTo>
                  <a:pt x="651" y="1034"/>
                </a:lnTo>
                <a:lnTo>
                  <a:pt x="665" y="1041"/>
                </a:lnTo>
                <a:lnTo>
                  <a:pt x="680" y="1046"/>
                </a:lnTo>
                <a:lnTo>
                  <a:pt x="697" y="1049"/>
                </a:lnTo>
                <a:lnTo>
                  <a:pt x="718" y="1049"/>
                </a:lnTo>
                <a:lnTo>
                  <a:pt x="718" y="1049"/>
                </a:lnTo>
                <a:lnTo>
                  <a:pt x="738" y="1049"/>
                </a:lnTo>
                <a:lnTo>
                  <a:pt x="757" y="1046"/>
                </a:lnTo>
                <a:lnTo>
                  <a:pt x="772" y="1041"/>
                </a:lnTo>
                <a:lnTo>
                  <a:pt x="786" y="1034"/>
                </a:lnTo>
                <a:lnTo>
                  <a:pt x="796" y="1027"/>
                </a:lnTo>
                <a:lnTo>
                  <a:pt x="807" y="1017"/>
                </a:lnTo>
                <a:lnTo>
                  <a:pt x="814" y="1007"/>
                </a:lnTo>
                <a:lnTo>
                  <a:pt x="820" y="995"/>
                </a:lnTo>
                <a:lnTo>
                  <a:pt x="826" y="983"/>
                </a:lnTo>
                <a:lnTo>
                  <a:pt x="829" y="969"/>
                </a:lnTo>
                <a:lnTo>
                  <a:pt x="832" y="940"/>
                </a:lnTo>
                <a:lnTo>
                  <a:pt x="834" y="907"/>
                </a:lnTo>
                <a:lnTo>
                  <a:pt x="836" y="875"/>
                </a:lnTo>
                <a:lnTo>
                  <a:pt x="836" y="875"/>
                </a:lnTo>
                <a:lnTo>
                  <a:pt x="834" y="840"/>
                </a:lnTo>
                <a:lnTo>
                  <a:pt x="832" y="809"/>
                </a:lnTo>
                <a:lnTo>
                  <a:pt x="829" y="779"/>
                </a:lnTo>
                <a:lnTo>
                  <a:pt x="826" y="765"/>
                </a:lnTo>
                <a:lnTo>
                  <a:pt x="820" y="753"/>
                </a:lnTo>
                <a:lnTo>
                  <a:pt x="814" y="741"/>
                </a:lnTo>
                <a:lnTo>
                  <a:pt x="807" y="731"/>
                </a:lnTo>
                <a:lnTo>
                  <a:pt x="796" y="722"/>
                </a:lnTo>
                <a:lnTo>
                  <a:pt x="786" y="713"/>
                </a:lnTo>
                <a:lnTo>
                  <a:pt x="772" y="708"/>
                </a:lnTo>
                <a:lnTo>
                  <a:pt x="757" y="703"/>
                </a:lnTo>
                <a:lnTo>
                  <a:pt x="738" y="700"/>
                </a:lnTo>
                <a:lnTo>
                  <a:pt x="718" y="700"/>
                </a:lnTo>
                <a:lnTo>
                  <a:pt x="718" y="700"/>
                </a:lnTo>
                <a:close/>
                <a:moveTo>
                  <a:pt x="718" y="998"/>
                </a:moveTo>
                <a:lnTo>
                  <a:pt x="718" y="998"/>
                </a:lnTo>
                <a:lnTo>
                  <a:pt x="704" y="996"/>
                </a:lnTo>
                <a:lnTo>
                  <a:pt x="699" y="995"/>
                </a:lnTo>
                <a:lnTo>
                  <a:pt x="694" y="991"/>
                </a:lnTo>
                <a:lnTo>
                  <a:pt x="690" y="988"/>
                </a:lnTo>
                <a:lnTo>
                  <a:pt x="687" y="983"/>
                </a:lnTo>
                <a:lnTo>
                  <a:pt x="680" y="969"/>
                </a:lnTo>
                <a:lnTo>
                  <a:pt x="677" y="952"/>
                </a:lnTo>
                <a:lnTo>
                  <a:pt x="675" y="931"/>
                </a:lnTo>
                <a:lnTo>
                  <a:pt x="673" y="905"/>
                </a:lnTo>
                <a:lnTo>
                  <a:pt x="673" y="875"/>
                </a:lnTo>
                <a:lnTo>
                  <a:pt x="673" y="875"/>
                </a:lnTo>
                <a:lnTo>
                  <a:pt x="673" y="844"/>
                </a:lnTo>
                <a:lnTo>
                  <a:pt x="675" y="818"/>
                </a:lnTo>
                <a:lnTo>
                  <a:pt x="677" y="797"/>
                </a:lnTo>
                <a:lnTo>
                  <a:pt x="680" y="779"/>
                </a:lnTo>
                <a:lnTo>
                  <a:pt x="687" y="767"/>
                </a:lnTo>
                <a:lnTo>
                  <a:pt x="690" y="761"/>
                </a:lnTo>
                <a:lnTo>
                  <a:pt x="694" y="756"/>
                </a:lnTo>
                <a:lnTo>
                  <a:pt x="699" y="755"/>
                </a:lnTo>
                <a:lnTo>
                  <a:pt x="704" y="751"/>
                </a:lnTo>
                <a:lnTo>
                  <a:pt x="718" y="749"/>
                </a:lnTo>
                <a:lnTo>
                  <a:pt x="718" y="749"/>
                </a:lnTo>
                <a:lnTo>
                  <a:pt x="731" y="751"/>
                </a:lnTo>
                <a:lnTo>
                  <a:pt x="736" y="755"/>
                </a:lnTo>
                <a:lnTo>
                  <a:pt x="742" y="756"/>
                </a:lnTo>
                <a:lnTo>
                  <a:pt x="747" y="761"/>
                </a:lnTo>
                <a:lnTo>
                  <a:pt x="750" y="767"/>
                </a:lnTo>
                <a:lnTo>
                  <a:pt x="755" y="779"/>
                </a:lnTo>
                <a:lnTo>
                  <a:pt x="759" y="797"/>
                </a:lnTo>
                <a:lnTo>
                  <a:pt x="762" y="818"/>
                </a:lnTo>
                <a:lnTo>
                  <a:pt x="762" y="844"/>
                </a:lnTo>
                <a:lnTo>
                  <a:pt x="764" y="875"/>
                </a:lnTo>
                <a:lnTo>
                  <a:pt x="764" y="875"/>
                </a:lnTo>
                <a:lnTo>
                  <a:pt x="762" y="905"/>
                </a:lnTo>
                <a:lnTo>
                  <a:pt x="762" y="931"/>
                </a:lnTo>
                <a:lnTo>
                  <a:pt x="759" y="952"/>
                </a:lnTo>
                <a:lnTo>
                  <a:pt x="755" y="969"/>
                </a:lnTo>
                <a:lnTo>
                  <a:pt x="750" y="983"/>
                </a:lnTo>
                <a:lnTo>
                  <a:pt x="747" y="988"/>
                </a:lnTo>
                <a:lnTo>
                  <a:pt x="742" y="991"/>
                </a:lnTo>
                <a:lnTo>
                  <a:pt x="736" y="995"/>
                </a:lnTo>
                <a:lnTo>
                  <a:pt x="731" y="996"/>
                </a:lnTo>
                <a:lnTo>
                  <a:pt x="718" y="998"/>
                </a:lnTo>
                <a:lnTo>
                  <a:pt x="718" y="998"/>
                </a:lnTo>
                <a:close/>
                <a:moveTo>
                  <a:pt x="522" y="258"/>
                </a:moveTo>
                <a:lnTo>
                  <a:pt x="430" y="258"/>
                </a:lnTo>
                <a:lnTo>
                  <a:pt x="336" y="597"/>
                </a:lnTo>
                <a:lnTo>
                  <a:pt x="406" y="597"/>
                </a:lnTo>
                <a:lnTo>
                  <a:pt x="425" y="522"/>
                </a:lnTo>
                <a:lnTo>
                  <a:pt x="522" y="522"/>
                </a:lnTo>
                <a:lnTo>
                  <a:pt x="539" y="597"/>
                </a:lnTo>
                <a:lnTo>
                  <a:pt x="615" y="597"/>
                </a:lnTo>
                <a:lnTo>
                  <a:pt x="522" y="258"/>
                </a:lnTo>
                <a:close/>
                <a:moveTo>
                  <a:pt x="438" y="470"/>
                </a:moveTo>
                <a:lnTo>
                  <a:pt x="471" y="324"/>
                </a:lnTo>
                <a:lnTo>
                  <a:pt x="473" y="324"/>
                </a:lnTo>
                <a:lnTo>
                  <a:pt x="507" y="470"/>
                </a:lnTo>
                <a:lnTo>
                  <a:pt x="438" y="470"/>
                </a:lnTo>
                <a:close/>
                <a:moveTo>
                  <a:pt x="1629" y="779"/>
                </a:moveTo>
                <a:lnTo>
                  <a:pt x="1590" y="707"/>
                </a:lnTo>
                <a:lnTo>
                  <a:pt x="1550" y="780"/>
                </a:lnTo>
                <a:lnTo>
                  <a:pt x="1468" y="796"/>
                </a:lnTo>
                <a:lnTo>
                  <a:pt x="1525" y="856"/>
                </a:lnTo>
                <a:lnTo>
                  <a:pt x="1516" y="940"/>
                </a:lnTo>
                <a:lnTo>
                  <a:pt x="1590" y="904"/>
                </a:lnTo>
                <a:lnTo>
                  <a:pt x="1665" y="938"/>
                </a:lnTo>
                <a:lnTo>
                  <a:pt x="1655" y="856"/>
                </a:lnTo>
                <a:lnTo>
                  <a:pt x="1711" y="794"/>
                </a:lnTo>
                <a:lnTo>
                  <a:pt x="1629" y="779"/>
                </a:lnTo>
                <a:close/>
                <a:moveTo>
                  <a:pt x="1994" y="1060"/>
                </a:moveTo>
                <a:lnTo>
                  <a:pt x="1994" y="1060"/>
                </a:lnTo>
                <a:lnTo>
                  <a:pt x="1968" y="1061"/>
                </a:lnTo>
                <a:lnTo>
                  <a:pt x="1944" y="1065"/>
                </a:lnTo>
                <a:lnTo>
                  <a:pt x="1920" y="1072"/>
                </a:lnTo>
                <a:lnTo>
                  <a:pt x="1898" y="1080"/>
                </a:lnTo>
                <a:lnTo>
                  <a:pt x="1877" y="1091"/>
                </a:lnTo>
                <a:lnTo>
                  <a:pt x="1857" y="1103"/>
                </a:lnTo>
                <a:lnTo>
                  <a:pt x="1838" y="1116"/>
                </a:lnTo>
                <a:lnTo>
                  <a:pt x="1819" y="1133"/>
                </a:lnTo>
                <a:lnTo>
                  <a:pt x="1804" y="1151"/>
                </a:lnTo>
                <a:lnTo>
                  <a:pt x="1790" y="1169"/>
                </a:lnTo>
                <a:lnTo>
                  <a:pt x="1778" y="1190"/>
                </a:lnTo>
                <a:lnTo>
                  <a:pt x="1768" y="1211"/>
                </a:lnTo>
                <a:lnTo>
                  <a:pt x="1759" y="1235"/>
                </a:lnTo>
                <a:lnTo>
                  <a:pt x="1752" y="1257"/>
                </a:lnTo>
                <a:lnTo>
                  <a:pt x="1749" y="1282"/>
                </a:lnTo>
                <a:lnTo>
                  <a:pt x="1747" y="1306"/>
                </a:lnTo>
                <a:lnTo>
                  <a:pt x="247" y="1306"/>
                </a:lnTo>
                <a:lnTo>
                  <a:pt x="247" y="1306"/>
                </a:lnTo>
                <a:lnTo>
                  <a:pt x="247" y="1282"/>
                </a:lnTo>
                <a:lnTo>
                  <a:pt x="241" y="1257"/>
                </a:lnTo>
                <a:lnTo>
                  <a:pt x="236" y="1233"/>
                </a:lnTo>
                <a:lnTo>
                  <a:pt x="228" y="1211"/>
                </a:lnTo>
                <a:lnTo>
                  <a:pt x="217" y="1190"/>
                </a:lnTo>
                <a:lnTo>
                  <a:pt x="205" y="1169"/>
                </a:lnTo>
                <a:lnTo>
                  <a:pt x="192" y="1151"/>
                </a:lnTo>
                <a:lnTo>
                  <a:pt x="175" y="1133"/>
                </a:lnTo>
                <a:lnTo>
                  <a:pt x="157" y="1116"/>
                </a:lnTo>
                <a:lnTo>
                  <a:pt x="139" y="1103"/>
                </a:lnTo>
                <a:lnTo>
                  <a:pt x="118" y="1091"/>
                </a:lnTo>
                <a:lnTo>
                  <a:pt x="96" y="1080"/>
                </a:lnTo>
                <a:lnTo>
                  <a:pt x="73" y="1072"/>
                </a:lnTo>
                <a:lnTo>
                  <a:pt x="50" y="1065"/>
                </a:lnTo>
                <a:lnTo>
                  <a:pt x="26" y="1061"/>
                </a:lnTo>
                <a:lnTo>
                  <a:pt x="0" y="1060"/>
                </a:lnTo>
                <a:lnTo>
                  <a:pt x="0" y="247"/>
                </a:lnTo>
                <a:lnTo>
                  <a:pt x="0" y="247"/>
                </a:lnTo>
                <a:lnTo>
                  <a:pt x="26" y="247"/>
                </a:lnTo>
                <a:lnTo>
                  <a:pt x="51" y="242"/>
                </a:lnTo>
                <a:lnTo>
                  <a:pt x="73" y="237"/>
                </a:lnTo>
                <a:lnTo>
                  <a:pt x="97" y="228"/>
                </a:lnTo>
                <a:lnTo>
                  <a:pt x="118" y="218"/>
                </a:lnTo>
                <a:lnTo>
                  <a:pt x="139" y="206"/>
                </a:lnTo>
                <a:lnTo>
                  <a:pt x="157" y="191"/>
                </a:lnTo>
                <a:lnTo>
                  <a:pt x="175" y="175"/>
                </a:lnTo>
                <a:lnTo>
                  <a:pt x="192" y="158"/>
                </a:lnTo>
                <a:lnTo>
                  <a:pt x="205" y="139"/>
                </a:lnTo>
                <a:lnTo>
                  <a:pt x="217" y="119"/>
                </a:lnTo>
                <a:lnTo>
                  <a:pt x="228" y="96"/>
                </a:lnTo>
                <a:lnTo>
                  <a:pt x="236" y="74"/>
                </a:lnTo>
                <a:lnTo>
                  <a:pt x="243" y="50"/>
                </a:lnTo>
                <a:lnTo>
                  <a:pt x="247" y="26"/>
                </a:lnTo>
                <a:lnTo>
                  <a:pt x="247" y="0"/>
                </a:lnTo>
                <a:lnTo>
                  <a:pt x="1747" y="0"/>
                </a:lnTo>
                <a:lnTo>
                  <a:pt x="1747" y="0"/>
                </a:lnTo>
                <a:lnTo>
                  <a:pt x="1749" y="26"/>
                </a:lnTo>
                <a:lnTo>
                  <a:pt x="1752" y="50"/>
                </a:lnTo>
                <a:lnTo>
                  <a:pt x="1759" y="74"/>
                </a:lnTo>
                <a:lnTo>
                  <a:pt x="1768" y="96"/>
                </a:lnTo>
                <a:lnTo>
                  <a:pt x="1778" y="119"/>
                </a:lnTo>
                <a:lnTo>
                  <a:pt x="1790" y="139"/>
                </a:lnTo>
                <a:lnTo>
                  <a:pt x="1804" y="158"/>
                </a:lnTo>
                <a:lnTo>
                  <a:pt x="1819" y="175"/>
                </a:lnTo>
                <a:lnTo>
                  <a:pt x="1838" y="191"/>
                </a:lnTo>
                <a:lnTo>
                  <a:pt x="1857" y="206"/>
                </a:lnTo>
                <a:lnTo>
                  <a:pt x="1876" y="218"/>
                </a:lnTo>
                <a:lnTo>
                  <a:pt x="1898" y="228"/>
                </a:lnTo>
                <a:lnTo>
                  <a:pt x="1920" y="237"/>
                </a:lnTo>
                <a:lnTo>
                  <a:pt x="1944" y="242"/>
                </a:lnTo>
                <a:lnTo>
                  <a:pt x="1968" y="247"/>
                </a:lnTo>
                <a:lnTo>
                  <a:pt x="1994" y="247"/>
                </a:lnTo>
                <a:lnTo>
                  <a:pt x="1994" y="1060"/>
                </a:lnTo>
                <a:close/>
                <a:moveTo>
                  <a:pt x="1326" y="597"/>
                </a:moveTo>
                <a:lnTo>
                  <a:pt x="1398" y="597"/>
                </a:lnTo>
                <a:lnTo>
                  <a:pt x="1398" y="258"/>
                </a:lnTo>
                <a:lnTo>
                  <a:pt x="1326" y="258"/>
                </a:lnTo>
                <a:lnTo>
                  <a:pt x="1326" y="597"/>
                </a:lnTo>
                <a:close/>
                <a:moveTo>
                  <a:pt x="1276" y="893"/>
                </a:moveTo>
                <a:lnTo>
                  <a:pt x="1381" y="893"/>
                </a:lnTo>
                <a:lnTo>
                  <a:pt x="1381" y="840"/>
                </a:lnTo>
                <a:lnTo>
                  <a:pt x="1276" y="840"/>
                </a:lnTo>
                <a:lnTo>
                  <a:pt x="1276" y="756"/>
                </a:lnTo>
                <a:lnTo>
                  <a:pt x="1389" y="756"/>
                </a:lnTo>
                <a:lnTo>
                  <a:pt x="1389" y="705"/>
                </a:lnTo>
                <a:lnTo>
                  <a:pt x="1204" y="705"/>
                </a:lnTo>
                <a:lnTo>
                  <a:pt x="1204" y="1044"/>
                </a:lnTo>
                <a:lnTo>
                  <a:pt x="1393" y="1044"/>
                </a:lnTo>
                <a:lnTo>
                  <a:pt x="1393" y="991"/>
                </a:lnTo>
                <a:lnTo>
                  <a:pt x="1276" y="991"/>
                </a:lnTo>
                <a:lnTo>
                  <a:pt x="1276" y="893"/>
                </a:lnTo>
                <a:close/>
                <a:moveTo>
                  <a:pt x="1509" y="597"/>
                </a:moveTo>
                <a:lnTo>
                  <a:pt x="1579" y="597"/>
                </a:lnTo>
                <a:lnTo>
                  <a:pt x="1579" y="314"/>
                </a:lnTo>
                <a:lnTo>
                  <a:pt x="1660" y="314"/>
                </a:lnTo>
                <a:lnTo>
                  <a:pt x="1660" y="258"/>
                </a:lnTo>
                <a:lnTo>
                  <a:pt x="1430" y="258"/>
                </a:lnTo>
                <a:lnTo>
                  <a:pt x="1430" y="314"/>
                </a:lnTo>
                <a:lnTo>
                  <a:pt x="1509" y="314"/>
                </a:lnTo>
                <a:lnTo>
                  <a:pt x="1509" y="597"/>
                </a:lnTo>
                <a:close/>
              </a:path>
            </a:pathLst>
          </a:custGeom>
          <a:solidFill>
            <a:srgbClr val="FB3449"/>
          </a:solidFill>
          <a:ln>
            <a:noFill/>
          </a:ln>
          <a:extLst/>
        </p:spPr>
        <p:txBody>
          <a:bodyPr vert="horz" wrap="square" lIns="91440" tIns="45720" rIns="91440" bIns="45720" numCol="1" anchor="t" anchorCtr="0" compatLnSpc="1">
            <a:prstTxWarp prst="textNoShape">
              <a:avLst/>
            </a:prstTxWarp>
          </a:bodyPr>
          <a:lstStyle/>
          <a:p>
            <a:pPr defTabSz="961813"/>
            <a:endParaRPr lang="en-GB" sz="1900">
              <a:solidFill>
                <a:srgbClr val="00BFD6"/>
              </a:solidFill>
            </a:endParaRPr>
          </a:p>
        </p:txBody>
      </p:sp>
      <p:sp>
        <p:nvSpPr>
          <p:cNvPr id="48" name="Freeform 50"/>
          <p:cNvSpPr>
            <a:spLocks noEditPoints="1"/>
          </p:cNvSpPr>
          <p:nvPr userDrawn="1"/>
        </p:nvSpPr>
        <p:spPr bwMode="auto">
          <a:xfrm flipH="1">
            <a:off x="3295923" y="4186801"/>
            <a:ext cx="102701" cy="222129"/>
          </a:xfrm>
          <a:custGeom>
            <a:avLst/>
            <a:gdLst>
              <a:gd name="T0" fmla="*/ 363 w 673"/>
              <a:gd name="T1" fmla="*/ 2 h 1944"/>
              <a:gd name="T2" fmla="*/ 440 w 673"/>
              <a:gd name="T3" fmla="*/ 23 h 1944"/>
              <a:gd name="T4" fmla="*/ 507 w 673"/>
              <a:gd name="T5" fmla="*/ 62 h 1944"/>
              <a:gd name="T6" fmla="*/ 558 w 673"/>
              <a:gd name="T7" fmla="*/ 119 h 1944"/>
              <a:gd name="T8" fmla="*/ 592 w 673"/>
              <a:gd name="T9" fmla="*/ 189 h 1944"/>
              <a:gd name="T10" fmla="*/ 604 w 673"/>
              <a:gd name="T11" fmla="*/ 270 h 1944"/>
              <a:gd name="T12" fmla="*/ 599 w 673"/>
              <a:gd name="T13" fmla="*/ 324 h 1944"/>
              <a:gd name="T14" fmla="*/ 572 w 673"/>
              <a:gd name="T15" fmla="*/ 398 h 1944"/>
              <a:gd name="T16" fmla="*/ 525 w 673"/>
              <a:gd name="T17" fmla="*/ 460 h 1944"/>
              <a:gd name="T18" fmla="*/ 464 w 673"/>
              <a:gd name="T19" fmla="*/ 506 h 1944"/>
              <a:gd name="T20" fmla="*/ 390 w 673"/>
              <a:gd name="T21" fmla="*/ 532 h 1944"/>
              <a:gd name="T22" fmla="*/ 335 w 673"/>
              <a:gd name="T23" fmla="*/ 539 h 1944"/>
              <a:gd name="T24" fmla="*/ 256 w 673"/>
              <a:gd name="T25" fmla="*/ 527 h 1944"/>
              <a:gd name="T26" fmla="*/ 186 w 673"/>
              <a:gd name="T27" fmla="*/ 492 h 1944"/>
              <a:gd name="T28" fmla="*/ 128 w 673"/>
              <a:gd name="T29" fmla="*/ 441 h 1944"/>
              <a:gd name="T30" fmla="*/ 89 w 673"/>
              <a:gd name="T31" fmla="*/ 374 h 1944"/>
              <a:gd name="T32" fmla="*/ 68 w 673"/>
              <a:gd name="T33" fmla="*/ 297 h 1944"/>
              <a:gd name="T34" fmla="*/ 68 w 673"/>
              <a:gd name="T35" fmla="*/ 242 h 1944"/>
              <a:gd name="T36" fmla="*/ 89 w 673"/>
              <a:gd name="T37" fmla="*/ 165 h 1944"/>
              <a:gd name="T38" fmla="*/ 128 w 673"/>
              <a:gd name="T39" fmla="*/ 98 h 1944"/>
              <a:gd name="T40" fmla="*/ 186 w 673"/>
              <a:gd name="T41" fmla="*/ 47 h 1944"/>
              <a:gd name="T42" fmla="*/ 256 w 673"/>
              <a:gd name="T43" fmla="*/ 12 h 1944"/>
              <a:gd name="T44" fmla="*/ 335 w 673"/>
              <a:gd name="T45" fmla="*/ 0 h 1944"/>
              <a:gd name="T46" fmla="*/ 673 w 673"/>
              <a:gd name="T47" fmla="*/ 1240 h 1944"/>
              <a:gd name="T48" fmla="*/ 661 w 673"/>
              <a:gd name="T49" fmla="*/ 1277 h 1944"/>
              <a:gd name="T50" fmla="*/ 642 w 673"/>
              <a:gd name="T51" fmla="*/ 1296 h 1944"/>
              <a:gd name="T52" fmla="*/ 604 w 673"/>
              <a:gd name="T53" fmla="*/ 1308 h 1944"/>
              <a:gd name="T54" fmla="*/ 522 w 673"/>
              <a:gd name="T55" fmla="*/ 1875 h 1944"/>
              <a:gd name="T56" fmla="*/ 512 w 673"/>
              <a:gd name="T57" fmla="*/ 1913 h 1944"/>
              <a:gd name="T58" fmla="*/ 481 w 673"/>
              <a:gd name="T59" fmla="*/ 1939 h 1944"/>
              <a:gd name="T60" fmla="*/ 453 w 673"/>
              <a:gd name="T61" fmla="*/ 1944 h 1944"/>
              <a:gd name="T62" fmla="*/ 416 w 673"/>
              <a:gd name="T63" fmla="*/ 1932 h 1944"/>
              <a:gd name="T64" fmla="*/ 390 w 673"/>
              <a:gd name="T65" fmla="*/ 1901 h 1944"/>
              <a:gd name="T66" fmla="*/ 385 w 673"/>
              <a:gd name="T67" fmla="*/ 1308 h 1944"/>
              <a:gd name="T68" fmla="*/ 298 w 673"/>
              <a:gd name="T69" fmla="*/ 1875 h 1944"/>
              <a:gd name="T70" fmla="*/ 286 w 673"/>
              <a:gd name="T71" fmla="*/ 1913 h 1944"/>
              <a:gd name="T72" fmla="*/ 255 w 673"/>
              <a:gd name="T73" fmla="*/ 1939 h 1944"/>
              <a:gd name="T74" fmla="*/ 229 w 673"/>
              <a:gd name="T75" fmla="*/ 1944 h 1944"/>
              <a:gd name="T76" fmla="*/ 190 w 673"/>
              <a:gd name="T77" fmla="*/ 1932 h 1944"/>
              <a:gd name="T78" fmla="*/ 166 w 673"/>
              <a:gd name="T79" fmla="*/ 1901 h 1944"/>
              <a:gd name="T80" fmla="*/ 161 w 673"/>
              <a:gd name="T81" fmla="*/ 1308 h 1944"/>
              <a:gd name="T82" fmla="*/ 54 w 673"/>
              <a:gd name="T83" fmla="*/ 1306 h 1944"/>
              <a:gd name="T84" fmla="*/ 18 w 673"/>
              <a:gd name="T85" fmla="*/ 1288 h 1944"/>
              <a:gd name="T86" fmla="*/ 5 w 673"/>
              <a:gd name="T87" fmla="*/ 1265 h 1944"/>
              <a:gd name="T88" fmla="*/ 0 w 673"/>
              <a:gd name="T89" fmla="*/ 701 h 1944"/>
              <a:gd name="T90" fmla="*/ 5 w 673"/>
              <a:gd name="T91" fmla="*/ 676 h 1944"/>
              <a:gd name="T92" fmla="*/ 18 w 673"/>
              <a:gd name="T93" fmla="*/ 653 h 1944"/>
              <a:gd name="T94" fmla="*/ 54 w 673"/>
              <a:gd name="T95" fmla="*/ 635 h 1944"/>
              <a:gd name="T96" fmla="*/ 604 w 673"/>
              <a:gd name="T97" fmla="*/ 633 h 1944"/>
              <a:gd name="T98" fmla="*/ 642 w 673"/>
              <a:gd name="T99" fmla="*/ 645 h 1944"/>
              <a:gd name="T100" fmla="*/ 661 w 673"/>
              <a:gd name="T101" fmla="*/ 664 h 1944"/>
              <a:gd name="T102" fmla="*/ 673 w 673"/>
              <a:gd name="T103" fmla="*/ 701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3" h="1944">
                <a:moveTo>
                  <a:pt x="335" y="0"/>
                </a:moveTo>
                <a:lnTo>
                  <a:pt x="335" y="0"/>
                </a:lnTo>
                <a:lnTo>
                  <a:pt x="363" y="2"/>
                </a:lnTo>
                <a:lnTo>
                  <a:pt x="390" y="6"/>
                </a:lnTo>
                <a:lnTo>
                  <a:pt x="416" y="12"/>
                </a:lnTo>
                <a:lnTo>
                  <a:pt x="440" y="23"/>
                </a:lnTo>
                <a:lnTo>
                  <a:pt x="464" y="33"/>
                </a:lnTo>
                <a:lnTo>
                  <a:pt x="486" y="47"/>
                </a:lnTo>
                <a:lnTo>
                  <a:pt x="507" y="62"/>
                </a:lnTo>
                <a:lnTo>
                  <a:pt x="525" y="79"/>
                </a:lnTo>
                <a:lnTo>
                  <a:pt x="543" y="98"/>
                </a:lnTo>
                <a:lnTo>
                  <a:pt x="558" y="119"/>
                </a:lnTo>
                <a:lnTo>
                  <a:pt x="572" y="141"/>
                </a:lnTo>
                <a:lnTo>
                  <a:pt x="584" y="165"/>
                </a:lnTo>
                <a:lnTo>
                  <a:pt x="592" y="189"/>
                </a:lnTo>
                <a:lnTo>
                  <a:pt x="599" y="215"/>
                </a:lnTo>
                <a:lnTo>
                  <a:pt x="603" y="242"/>
                </a:lnTo>
                <a:lnTo>
                  <a:pt x="604" y="270"/>
                </a:lnTo>
                <a:lnTo>
                  <a:pt x="604" y="270"/>
                </a:lnTo>
                <a:lnTo>
                  <a:pt x="603" y="297"/>
                </a:lnTo>
                <a:lnTo>
                  <a:pt x="599" y="324"/>
                </a:lnTo>
                <a:lnTo>
                  <a:pt x="592" y="350"/>
                </a:lnTo>
                <a:lnTo>
                  <a:pt x="584" y="374"/>
                </a:lnTo>
                <a:lnTo>
                  <a:pt x="572" y="398"/>
                </a:lnTo>
                <a:lnTo>
                  <a:pt x="558" y="420"/>
                </a:lnTo>
                <a:lnTo>
                  <a:pt x="543" y="441"/>
                </a:lnTo>
                <a:lnTo>
                  <a:pt x="525" y="460"/>
                </a:lnTo>
                <a:lnTo>
                  <a:pt x="507" y="477"/>
                </a:lnTo>
                <a:lnTo>
                  <a:pt x="486" y="492"/>
                </a:lnTo>
                <a:lnTo>
                  <a:pt x="464" y="506"/>
                </a:lnTo>
                <a:lnTo>
                  <a:pt x="440" y="516"/>
                </a:lnTo>
                <a:lnTo>
                  <a:pt x="416" y="527"/>
                </a:lnTo>
                <a:lnTo>
                  <a:pt x="390" y="532"/>
                </a:lnTo>
                <a:lnTo>
                  <a:pt x="363" y="537"/>
                </a:lnTo>
                <a:lnTo>
                  <a:pt x="335" y="539"/>
                </a:lnTo>
                <a:lnTo>
                  <a:pt x="335" y="539"/>
                </a:lnTo>
                <a:lnTo>
                  <a:pt x="308" y="537"/>
                </a:lnTo>
                <a:lnTo>
                  <a:pt x="282" y="532"/>
                </a:lnTo>
                <a:lnTo>
                  <a:pt x="256" y="527"/>
                </a:lnTo>
                <a:lnTo>
                  <a:pt x="231" y="516"/>
                </a:lnTo>
                <a:lnTo>
                  <a:pt x="209" y="506"/>
                </a:lnTo>
                <a:lnTo>
                  <a:pt x="186" y="492"/>
                </a:lnTo>
                <a:lnTo>
                  <a:pt x="166" y="477"/>
                </a:lnTo>
                <a:lnTo>
                  <a:pt x="147" y="460"/>
                </a:lnTo>
                <a:lnTo>
                  <a:pt x="128" y="441"/>
                </a:lnTo>
                <a:lnTo>
                  <a:pt x="113" y="420"/>
                </a:lnTo>
                <a:lnTo>
                  <a:pt x="101" y="398"/>
                </a:lnTo>
                <a:lnTo>
                  <a:pt x="89" y="374"/>
                </a:lnTo>
                <a:lnTo>
                  <a:pt x="80" y="350"/>
                </a:lnTo>
                <a:lnTo>
                  <a:pt x="73" y="324"/>
                </a:lnTo>
                <a:lnTo>
                  <a:pt x="68" y="297"/>
                </a:lnTo>
                <a:lnTo>
                  <a:pt x="68" y="270"/>
                </a:lnTo>
                <a:lnTo>
                  <a:pt x="68" y="270"/>
                </a:lnTo>
                <a:lnTo>
                  <a:pt x="68" y="242"/>
                </a:lnTo>
                <a:lnTo>
                  <a:pt x="73" y="215"/>
                </a:lnTo>
                <a:lnTo>
                  <a:pt x="80" y="189"/>
                </a:lnTo>
                <a:lnTo>
                  <a:pt x="89" y="165"/>
                </a:lnTo>
                <a:lnTo>
                  <a:pt x="101" y="141"/>
                </a:lnTo>
                <a:lnTo>
                  <a:pt x="113" y="119"/>
                </a:lnTo>
                <a:lnTo>
                  <a:pt x="128" y="98"/>
                </a:lnTo>
                <a:lnTo>
                  <a:pt x="147" y="79"/>
                </a:lnTo>
                <a:lnTo>
                  <a:pt x="166" y="62"/>
                </a:lnTo>
                <a:lnTo>
                  <a:pt x="186" y="47"/>
                </a:lnTo>
                <a:lnTo>
                  <a:pt x="209" y="33"/>
                </a:lnTo>
                <a:lnTo>
                  <a:pt x="231" y="23"/>
                </a:lnTo>
                <a:lnTo>
                  <a:pt x="256" y="12"/>
                </a:lnTo>
                <a:lnTo>
                  <a:pt x="282" y="6"/>
                </a:lnTo>
                <a:lnTo>
                  <a:pt x="308" y="2"/>
                </a:lnTo>
                <a:lnTo>
                  <a:pt x="335" y="0"/>
                </a:lnTo>
                <a:lnTo>
                  <a:pt x="335" y="0"/>
                </a:lnTo>
                <a:close/>
                <a:moveTo>
                  <a:pt x="673" y="1240"/>
                </a:moveTo>
                <a:lnTo>
                  <a:pt x="673" y="1240"/>
                </a:lnTo>
                <a:lnTo>
                  <a:pt x="671" y="1252"/>
                </a:lnTo>
                <a:lnTo>
                  <a:pt x="668" y="1265"/>
                </a:lnTo>
                <a:lnTo>
                  <a:pt x="661" y="1277"/>
                </a:lnTo>
                <a:lnTo>
                  <a:pt x="652" y="1288"/>
                </a:lnTo>
                <a:lnTo>
                  <a:pt x="652" y="1288"/>
                </a:lnTo>
                <a:lnTo>
                  <a:pt x="642" y="1296"/>
                </a:lnTo>
                <a:lnTo>
                  <a:pt x="630" y="1303"/>
                </a:lnTo>
                <a:lnTo>
                  <a:pt x="618" y="1306"/>
                </a:lnTo>
                <a:lnTo>
                  <a:pt x="604" y="1308"/>
                </a:lnTo>
                <a:lnTo>
                  <a:pt x="522" y="1308"/>
                </a:lnTo>
                <a:lnTo>
                  <a:pt x="522" y="1875"/>
                </a:lnTo>
                <a:lnTo>
                  <a:pt x="522" y="1875"/>
                </a:lnTo>
                <a:lnTo>
                  <a:pt x="522" y="1889"/>
                </a:lnTo>
                <a:lnTo>
                  <a:pt x="517" y="1901"/>
                </a:lnTo>
                <a:lnTo>
                  <a:pt x="512" y="1913"/>
                </a:lnTo>
                <a:lnTo>
                  <a:pt x="503" y="1923"/>
                </a:lnTo>
                <a:lnTo>
                  <a:pt x="493" y="1932"/>
                </a:lnTo>
                <a:lnTo>
                  <a:pt x="481" y="1939"/>
                </a:lnTo>
                <a:lnTo>
                  <a:pt x="467" y="1942"/>
                </a:lnTo>
                <a:lnTo>
                  <a:pt x="453" y="1944"/>
                </a:lnTo>
                <a:lnTo>
                  <a:pt x="453" y="1944"/>
                </a:lnTo>
                <a:lnTo>
                  <a:pt x="440" y="1942"/>
                </a:lnTo>
                <a:lnTo>
                  <a:pt x="428" y="1939"/>
                </a:lnTo>
                <a:lnTo>
                  <a:pt x="416" y="1932"/>
                </a:lnTo>
                <a:lnTo>
                  <a:pt x="406" y="1923"/>
                </a:lnTo>
                <a:lnTo>
                  <a:pt x="397" y="1913"/>
                </a:lnTo>
                <a:lnTo>
                  <a:pt x="390" y="1901"/>
                </a:lnTo>
                <a:lnTo>
                  <a:pt x="387" y="1889"/>
                </a:lnTo>
                <a:lnTo>
                  <a:pt x="385" y="1875"/>
                </a:lnTo>
                <a:lnTo>
                  <a:pt x="385" y="1308"/>
                </a:lnTo>
                <a:lnTo>
                  <a:pt x="298" y="1308"/>
                </a:lnTo>
                <a:lnTo>
                  <a:pt x="298" y="1875"/>
                </a:lnTo>
                <a:lnTo>
                  <a:pt x="298" y="1875"/>
                </a:lnTo>
                <a:lnTo>
                  <a:pt x="296" y="1889"/>
                </a:lnTo>
                <a:lnTo>
                  <a:pt x="292" y="1901"/>
                </a:lnTo>
                <a:lnTo>
                  <a:pt x="286" y="1913"/>
                </a:lnTo>
                <a:lnTo>
                  <a:pt x="277" y="1923"/>
                </a:lnTo>
                <a:lnTo>
                  <a:pt x="267" y="1932"/>
                </a:lnTo>
                <a:lnTo>
                  <a:pt x="255" y="1939"/>
                </a:lnTo>
                <a:lnTo>
                  <a:pt x="243" y="1942"/>
                </a:lnTo>
                <a:lnTo>
                  <a:pt x="229" y="1944"/>
                </a:lnTo>
                <a:lnTo>
                  <a:pt x="229" y="1944"/>
                </a:lnTo>
                <a:lnTo>
                  <a:pt x="215" y="1942"/>
                </a:lnTo>
                <a:lnTo>
                  <a:pt x="202" y="1939"/>
                </a:lnTo>
                <a:lnTo>
                  <a:pt x="190" y="1932"/>
                </a:lnTo>
                <a:lnTo>
                  <a:pt x="179" y="1923"/>
                </a:lnTo>
                <a:lnTo>
                  <a:pt x="173" y="1913"/>
                </a:lnTo>
                <a:lnTo>
                  <a:pt x="166" y="1901"/>
                </a:lnTo>
                <a:lnTo>
                  <a:pt x="162" y="1889"/>
                </a:lnTo>
                <a:lnTo>
                  <a:pt x="161" y="1875"/>
                </a:lnTo>
                <a:lnTo>
                  <a:pt x="161" y="1308"/>
                </a:lnTo>
                <a:lnTo>
                  <a:pt x="68" y="1308"/>
                </a:lnTo>
                <a:lnTo>
                  <a:pt x="68" y="1308"/>
                </a:lnTo>
                <a:lnTo>
                  <a:pt x="54" y="1306"/>
                </a:lnTo>
                <a:lnTo>
                  <a:pt x="41" y="1303"/>
                </a:lnTo>
                <a:lnTo>
                  <a:pt x="29" y="1296"/>
                </a:lnTo>
                <a:lnTo>
                  <a:pt x="18" y="1288"/>
                </a:lnTo>
                <a:lnTo>
                  <a:pt x="18" y="1288"/>
                </a:lnTo>
                <a:lnTo>
                  <a:pt x="10" y="1277"/>
                </a:lnTo>
                <a:lnTo>
                  <a:pt x="5" y="1265"/>
                </a:lnTo>
                <a:lnTo>
                  <a:pt x="0" y="1252"/>
                </a:lnTo>
                <a:lnTo>
                  <a:pt x="0" y="1240"/>
                </a:lnTo>
                <a:lnTo>
                  <a:pt x="0" y="701"/>
                </a:lnTo>
                <a:lnTo>
                  <a:pt x="0" y="701"/>
                </a:lnTo>
                <a:lnTo>
                  <a:pt x="0" y="688"/>
                </a:lnTo>
                <a:lnTo>
                  <a:pt x="5" y="676"/>
                </a:lnTo>
                <a:lnTo>
                  <a:pt x="10" y="664"/>
                </a:lnTo>
                <a:lnTo>
                  <a:pt x="18" y="653"/>
                </a:lnTo>
                <a:lnTo>
                  <a:pt x="18" y="653"/>
                </a:lnTo>
                <a:lnTo>
                  <a:pt x="29" y="645"/>
                </a:lnTo>
                <a:lnTo>
                  <a:pt x="41" y="638"/>
                </a:lnTo>
                <a:lnTo>
                  <a:pt x="54" y="635"/>
                </a:lnTo>
                <a:lnTo>
                  <a:pt x="68" y="633"/>
                </a:lnTo>
                <a:lnTo>
                  <a:pt x="604" y="633"/>
                </a:lnTo>
                <a:lnTo>
                  <a:pt x="604" y="633"/>
                </a:lnTo>
                <a:lnTo>
                  <a:pt x="618" y="635"/>
                </a:lnTo>
                <a:lnTo>
                  <a:pt x="630" y="638"/>
                </a:lnTo>
                <a:lnTo>
                  <a:pt x="642" y="645"/>
                </a:lnTo>
                <a:lnTo>
                  <a:pt x="652" y="653"/>
                </a:lnTo>
                <a:lnTo>
                  <a:pt x="652" y="653"/>
                </a:lnTo>
                <a:lnTo>
                  <a:pt x="661" y="664"/>
                </a:lnTo>
                <a:lnTo>
                  <a:pt x="668" y="676"/>
                </a:lnTo>
                <a:lnTo>
                  <a:pt x="671" y="688"/>
                </a:lnTo>
                <a:lnTo>
                  <a:pt x="673" y="701"/>
                </a:lnTo>
                <a:lnTo>
                  <a:pt x="673" y="1240"/>
                </a:lnTo>
                <a:close/>
              </a:path>
            </a:pathLst>
          </a:custGeom>
          <a:solidFill>
            <a:srgbClr val="FB3449"/>
          </a:solidFill>
          <a:ln>
            <a:noFill/>
          </a:ln>
          <a:extLst/>
        </p:spPr>
        <p:txBody>
          <a:bodyPr vert="horz" wrap="square" lIns="91440" tIns="45720" rIns="91440" bIns="45720" numCol="1" anchor="t" anchorCtr="0" compatLnSpc="1">
            <a:prstTxWarp prst="textNoShape">
              <a:avLst/>
            </a:prstTxWarp>
          </a:bodyPr>
          <a:lstStyle/>
          <a:p>
            <a:pPr defTabSz="961813"/>
            <a:endParaRPr lang="en-GB" sz="1900">
              <a:solidFill>
                <a:srgbClr val="00BFD6"/>
              </a:solidFill>
            </a:endParaRPr>
          </a:p>
        </p:txBody>
      </p:sp>
      <p:sp>
        <p:nvSpPr>
          <p:cNvPr id="49" name="Freeform 51"/>
          <p:cNvSpPr>
            <a:spLocks noEditPoints="1"/>
          </p:cNvSpPr>
          <p:nvPr userDrawn="1"/>
        </p:nvSpPr>
        <p:spPr bwMode="auto">
          <a:xfrm flipH="1">
            <a:off x="3445420" y="4182439"/>
            <a:ext cx="128287" cy="226489"/>
          </a:xfrm>
          <a:custGeom>
            <a:avLst/>
            <a:gdLst>
              <a:gd name="T0" fmla="*/ 438 w 824"/>
              <a:gd name="T1" fmla="*/ 2 h 1940"/>
              <a:gd name="T2" fmla="*/ 515 w 824"/>
              <a:gd name="T3" fmla="*/ 21 h 1940"/>
              <a:gd name="T4" fmla="*/ 582 w 824"/>
              <a:gd name="T5" fmla="*/ 62 h 1940"/>
              <a:gd name="T6" fmla="*/ 634 w 824"/>
              <a:gd name="T7" fmla="*/ 118 h 1940"/>
              <a:gd name="T8" fmla="*/ 668 w 824"/>
              <a:gd name="T9" fmla="*/ 189 h 1940"/>
              <a:gd name="T10" fmla="*/ 680 w 824"/>
              <a:gd name="T11" fmla="*/ 268 h 1940"/>
              <a:gd name="T12" fmla="*/ 675 w 824"/>
              <a:gd name="T13" fmla="*/ 322 h 1940"/>
              <a:gd name="T14" fmla="*/ 647 w 824"/>
              <a:gd name="T15" fmla="*/ 396 h 1940"/>
              <a:gd name="T16" fmla="*/ 601 w 824"/>
              <a:gd name="T17" fmla="*/ 458 h 1940"/>
              <a:gd name="T18" fmla="*/ 539 w 824"/>
              <a:gd name="T19" fmla="*/ 504 h 1940"/>
              <a:gd name="T20" fmla="*/ 466 w 824"/>
              <a:gd name="T21" fmla="*/ 531 h 1940"/>
              <a:gd name="T22" fmla="*/ 411 w 824"/>
              <a:gd name="T23" fmla="*/ 537 h 1940"/>
              <a:gd name="T24" fmla="*/ 332 w 824"/>
              <a:gd name="T25" fmla="*/ 525 h 1940"/>
              <a:gd name="T26" fmla="*/ 262 w 824"/>
              <a:gd name="T27" fmla="*/ 490 h 1940"/>
              <a:gd name="T28" fmla="*/ 205 w 824"/>
              <a:gd name="T29" fmla="*/ 439 h 1940"/>
              <a:gd name="T30" fmla="*/ 164 w 824"/>
              <a:gd name="T31" fmla="*/ 372 h 1940"/>
              <a:gd name="T32" fmla="*/ 145 w 824"/>
              <a:gd name="T33" fmla="*/ 295 h 1940"/>
              <a:gd name="T34" fmla="*/ 145 w 824"/>
              <a:gd name="T35" fmla="*/ 240 h 1940"/>
              <a:gd name="T36" fmla="*/ 164 w 824"/>
              <a:gd name="T37" fmla="*/ 163 h 1940"/>
              <a:gd name="T38" fmla="*/ 205 w 824"/>
              <a:gd name="T39" fmla="*/ 98 h 1940"/>
              <a:gd name="T40" fmla="*/ 262 w 824"/>
              <a:gd name="T41" fmla="*/ 46 h 1940"/>
              <a:gd name="T42" fmla="*/ 332 w 824"/>
              <a:gd name="T43" fmla="*/ 12 h 1940"/>
              <a:gd name="T44" fmla="*/ 411 w 824"/>
              <a:gd name="T45" fmla="*/ 0 h 1940"/>
              <a:gd name="T46" fmla="*/ 814 w 824"/>
              <a:gd name="T47" fmla="*/ 1407 h 1940"/>
              <a:gd name="T48" fmla="*/ 796 w 824"/>
              <a:gd name="T49" fmla="*/ 1426 h 1940"/>
              <a:gd name="T50" fmla="*/ 772 w 824"/>
              <a:gd name="T51" fmla="*/ 1438 h 1940"/>
              <a:gd name="T52" fmla="*/ 598 w 824"/>
              <a:gd name="T53" fmla="*/ 1440 h 1940"/>
              <a:gd name="T54" fmla="*/ 598 w 824"/>
              <a:gd name="T55" fmla="*/ 1885 h 1940"/>
              <a:gd name="T56" fmla="*/ 579 w 824"/>
              <a:gd name="T57" fmla="*/ 1920 h 1940"/>
              <a:gd name="T58" fmla="*/ 543 w 824"/>
              <a:gd name="T59" fmla="*/ 1939 h 1940"/>
              <a:gd name="T60" fmla="*/ 515 w 824"/>
              <a:gd name="T61" fmla="*/ 1939 h 1940"/>
              <a:gd name="T62" fmla="*/ 481 w 824"/>
              <a:gd name="T63" fmla="*/ 1920 h 1940"/>
              <a:gd name="T64" fmla="*/ 462 w 824"/>
              <a:gd name="T65" fmla="*/ 1885 h 1940"/>
              <a:gd name="T66" fmla="*/ 373 w 824"/>
              <a:gd name="T67" fmla="*/ 1440 h 1940"/>
              <a:gd name="T68" fmla="*/ 372 w 824"/>
              <a:gd name="T69" fmla="*/ 1885 h 1940"/>
              <a:gd name="T70" fmla="*/ 353 w 824"/>
              <a:gd name="T71" fmla="*/ 1920 h 1940"/>
              <a:gd name="T72" fmla="*/ 318 w 824"/>
              <a:gd name="T73" fmla="*/ 1939 h 1940"/>
              <a:gd name="T74" fmla="*/ 291 w 824"/>
              <a:gd name="T75" fmla="*/ 1939 h 1940"/>
              <a:gd name="T76" fmla="*/ 257 w 824"/>
              <a:gd name="T77" fmla="*/ 1920 h 1940"/>
              <a:gd name="T78" fmla="*/ 238 w 824"/>
              <a:gd name="T79" fmla="*/ 1885 h 1940"/>
              <a:gd name="T80" fmla="*/ 68 w 824"/>
              <a:gd name="T81" fmla="*/ 1440 h 1940"/>
              <a:gd name="T82" fmla="*/ 51 w 824"/>
              <a:gd name="T83" fmla="*/ 1438 h 1940"/>
              <a:gd name="T84" fmla="*/ 27 w 824"/>
              <a:gd name="T85" fmla="*/ 1426 h 1940"/>
              <a:gd name="T86" fmla="*/ 10 w 824"/>
              <a:gd name="T87" fmla="*/ 1407 h 1940"/>
              <a:gd name="T88" fmla="*/ 3 w 824"/>
              <a:gd name="T89" fmla="*/ 1392 h 1940"/>
              <a:gd name="T90" fmla="*/ 0 w 824"/>
              <a:gd name="T91" fmla="*/ 1366 h 1940"/>
              <a:gd name="T92" fmla="*/ 7 w 824"/>
              <a:gd name="T93" fmla="*/ 1340 h 1940"/>
              <a:gd name="T94" fmla="*/ 354 w 824"/>
              <a:gd name="T95" fmla="*/ 641 h 1940"/>
              <a:gd name="T96" fmla="*/ 375 w 824"/>
              <a:gd name="T97" fmla="*/ 622 h 1940"/>
              <a:gd name="T98" fmla="*/ 402 w 824"/>
              <a:gd name="T99" fmla="*/ 612 h 1940"/>
              <a:gd name="T100" fmla="*/ 421 w 824"/>
              <a:gd name="T101" fmla="*/ 612 h 1940"/>
              <a:gd name="T102" fmla="*/ 449 w 824"/>
              <a:gd name="T103" fmla="*/ 622 h 1940"/>
              <a:gd name="T104" fmla="*/ 467 w 824"/>
              <a:gd name="T105" fmla="*/ 641 h 1940"/>
              <a:gd name="T106" fmla="*/ 817 w 824"/>
              <a:gd name="T107" fmla="*/ 1340 h 1940"/>
              <a:gd name="T108" fmla="*/ 824 w 824"/>
              <a:gd name="T109" fmla="*/ 1366 h 1940"/>
              <a:gd name="T110" fmla="*/ 820 w 824"/>
              <a:gd name="T111" fmla="*/ 1392 h 1940"/>
              <a:gd name="T112" fmla="*/ 814 w 824"/>
              <a:gd name="T113" fmla="*/ 1407 h 1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 h="1940">
                <a:moveTo>
                  <a:pt x="411" y="0"/>
                </a:moveTo>
                <a:lnTo>
                  <a:pt x="411" y="0"/>
                </a:lnTo>
                <a:lnTo>
                  <a:pt x="438" y="2"/>
                </a:lnTo>
                <a:lnTo>
                  <a:pt x="466" y="5"/>
                </a:lnTo>
                <a:lnTo>
                  <a:pt x="491" y="12"/>
                </a:lnTo>
                <a:lnTo>
                  <a:pt x="515" y="21"/>
                </a:lnTo>
                <a:lnTo>
                  <a:pt x="539" y="33"/>
                </a:lnTo>
                <a:lnTo>
                  <a:pt x="562" y="46"/>
                </a:lnTo>
                <a:lnTo>
                  <a:pt x="582" y="62"/>
                </a:lnTo>
                <a:lnTo>
                  <a:pt x="601" y="79"/>
                </a:lnTo>
                <a:lnTo>
                  <a:pt x="618" y="98"/>
                </a:lnTo>
                <a:lnTo>
                  <a:pt x="634" y="118"/>
                </a:lnTo>
                <a:lnTo>
                  <a:pt x="647" y="141"/>
                </a:lnTo>
                <a:lnTo>
                  <a:pt x="659" y="163"/>
                </a:lnTo>
                <a:lnTo>
                  <a:pt x="668" y="189"/>
                </a:lnTo>
                <a:lnTo>
                  <a:pt x="675" y="214"/>
                </a:lnTo>
                <a:lnTo>
                  <a:pt x="678" y="240"/>
                </a:lnTo>
                <a:lnTo>
                  <a:pt x="680" y="268"/>
                </a:lnTo>
                <a:lnTo>
                  <a:pt x="680" y="268"/>
                </a:lnTo>
                <a:lnTo>
                  <a:pt x="678" y="295"/>
                </a:lnTo>
                <a:lnTo>
                  <a:pt x="675" y="322"/>
                </a:lnTo>
                <a:lnTo>
                  <a:pt x="668" y="348"/>
                </a:lnTo>
                <a:lnTo>
                  <a:pt x="659" y="372"/>
                </a:lnTo>
                <a:lnTo>
                  <a:pt x="647" y="396"/>
                </a:lnTo>
                <a:lnTo>
                  <a:pt x="634" y="418"/>
                </a:lnTo>
                <a:lnTo>
                  <a:pt x="618" y="439"/>
                </a:lnTo>
                <a:lnTo>
                  <a:pt x="601" y="458"/>
                </a:lnTo>
                <a:lnTo>
                  <a:pt x="582" y="475"/>
                </a:lnTo>
                <a:lnTo>
                  <a:pt x="562" y="490"/>
                </a:lnTo>
                <a:lnTo>
                  <a:pt x="539" y="504"/>
                </a:lnTo>
                <a:lnTo>
                  <a:pt x="515" y="516"/>
                </a:lnTo>
                <a:lnTo>
                  <a:pt x="491" y="525"/>
                </a:lnTo>
                <a:lnTo>
                  <a:pt x="466" y="531"/>
                </a:lnTo>
                <a:lnTo>
                  <a:pt x="438" y="535"/>
                </a:lnTo>
                <a:lnTo>
                  <a:pt x="411" y="537"/>
                </a:lnTo>
                <a:lnTo>
                  <a:pt x="411" y="537"/>
                </a:lnTo>
                <a:lnTo>
                  <a:pt x="384" y="535"/>
                </a:lnTo>
                <a:lnTo>
                  <a:pt x="358" y="531"/>
                </a:lnTo>
                <a:lnTo>
                  <a:pt x="332" y="525"/>
                </a:lnTo>
                <a:lnTo>
                  <a:pt x="306" y="516"/>
                </a:lnTo>
                <a:lnTo>
                  <a:pt x="284" y="504"/>
                </a:lnTo>
                <a:lnTo>
                  <a:pt x="262" y="490"/>
                </a:lnTo>
                <a:lnTo>
                  <a:pt x="241" y="475"/>
                </a:lnTo>
                <a:lnTo>
                  <a:pt x="222" y="458"/>
                </a:lnTo>
                <a:lnTo>
                  <a:pt x="205" y="439"/>
                </a:lnTo>
                <a:lnTo>
                  <a:pt x="190" y="418"/>
                </a:lnTo>
                <a:lnTo>
                  <a:pt x="176" y="396"/>
                </a:lnTo>
                <a:lnTo>
                  <a:pt x="164" y="372"/>
                </a:lnTo>
                <a:lnTo>
                  <a:pt x="156" y="348"/>
                </a:lnTo>
                <a:lnTo>
                  <a:pt x="149" y="322"/>
                </a:lnTo>
                <a:lnTo>
                  <a:pt x="145" y="295"/>
                </a:lnTo>
                <a:lnTo>
                  <a:pt x="144" y="268"/>
                </a:lnTo>
                <a:lnTo>
                  <a:pt x="144" y="268"/>
                </a:lnTo>
                <a:lnTo>
                  <a:pt x="145" y="240"/>
                </a:lnTo>
                <a:lnTo>
                  <a:pt x="149" y="214"/>
                </a:lnTo>
                <a:lnTo>
                  <a:pt x="156" y="189"/>
                </a:lnTo>
                <a:lnTo>
                  <a:pt x="164" y="163"/>
                </a:lnTo>
                <a:lnTo>
                  <a:pt x="176" y="141"/>
                </a:lnTo>
                <a:lnTo>
                  <a:pt x="190" y="118"/>
                </a:lnTo>
                <a:lnTo>
                  <a:pt x="205" y="98"/>
                </a:lnTo>
                <a:lnTo>
                  <a:pt x="222" y="79"/>
                </a:lnTo>
                <a:lnTo>
                  <a:pt x="241" y="62"/>
                </a:lnTo>
                <a:lnTo>
                  <a:pt x="262" y="46"/>
                </a:lnTo>
                <a:lnTo>
                  <a:pt x="284" y="33"/>
                </a:lnTo>
                <a:lnTo>
                  <a:pt x="306" y="21"/>
                </a:lnTo>
                <a:lnTo>
                  <a:pt x="332" y="12"/>
                </a:lnTo>
                <a:lnTo>
                  <a:pt x="358" y="5"/>
                </a:lnTo>
                <a:lnTo>
                  <a:pt x="384" y="2"/>
                </a:lnTo>
                <a:lnTo>
                  <a:pt x="411" y="0"/>
                </a:lnTo>
                <a:lnTo>
                  <a:pt x="411" y="0"/>
                </a:lnTo>
                <a:close/>
                <a:moveTo>
                  <a:pt x="814" y="1407"/>
                </a:moveTo>
                <a:lnTo>
                  <a:pt x="814" y="1407"/>
                </a:lnTo>
                <a:lnTo>
                  <a:pt x="808" y="1414"/>
                </a:lnTo>
                <a:lnTo>
                  <a:pt x="803" y="1421"/>
                </a:lnTo>
                <a:lnTo>
                  <a:pt x="796" y="1426"/>
                </a:lnTo>
                <a:lnTo>
                  <a:pt x="788" y="1431"/>
                </a:lnTo>
                <a:lnTo>
                  <a:pt x="781" y="1435"/>
                </a:lnTo>
                <a:lnTo>
                  <a:pt x="772" y="1438"/>
                </a:lnTo>
                <a:lnTo>
                  <a:pt x="764" y="1440"/>
                </a:lnTo>
                <a:lnTo>
                  <a:pt x="755" y="1440"/>
                </a:lnTo>
                <a:lnTo>
                  <a:pt x="598" y="1440"/>
                </a:lnTo>
                <a:lnTo>
                  <a:pt x="598" y="1872"/>
                </a:lnTo>
                <a:lnTo>
                  <a:pt x="598" y="1872"/>
                </a:lnTo>
                <a:lnTo>
                  <a:pt x="598" y="1885"/>
                </a:lnTo>
                <a:lnTo>
                  <a:pt x="593" y="1899"/>
                </a:lnTo>
                <a:lnTo>
                  <a:pt x="587" y="1911"/>
                </a:lnTo>
                <a:lnTo>
                  <a:pt x="579" y="1920"/>
                </a:lnTo>
                <a:lnTo>
                  <a:pt x="569" y="1928"/>
                </a:lnTo>
                <a:lnTo>
                  <a:pt x="557" y="1935"/>
                </a:lnTo>
                <a:lnTo>
                  <a:pt x="543" y="1939"/>
                </a:lnTo>
                <a:lnTo>
                  <a:pt x="529" y="1940"/>
                </a:lnTo>
                <a:lnTo>
                  <a:pt x="529" y="1940"/>
                </a:lnTo>
                <a:lnTo>
                  <a:pt x="515" y="1939"/>
                </a:lnTo>
                <a:lnTo>
                  <a:pt x="503" y="1935"/>
                </a:lnTo>
                <a:lnTo>
                  <a:pt x="491" y="1928"/>
                </a:lnTo>
                <a:lnTo>
                  <a:pt x="481" y="1920"/>
                </a:lnTo>
                <a:lnTo>
                  <a:pt x="473" y="1911"/>
                </a:lnTo>
                <a:lnTo>
                  <a:pt x="467" y="1899"/>
                </a:lnTo>
                <a:lnTo>
                  <a:pt x="462" y="1885"/>
                </a:lnTo>
                <a:lnTo>
                  <a:pt x="461" y="1872"/>
                </a:lnTo>
                <a:lnTo>
                  <a:pt x="461" y="1440"/>
                </a:lnTo>
                <a:lnTo>
                  <a:pt x="373" y="1440"/>
                </a:lnTo>
                <a:lnTo>
                  <a:pt x="373" y="1872"/>
                </a:lnTo>
                <a:lnTo>
                  <a:pt x="373" y="1872"/>
                </a:lnTo>
                <a:lnTo>
                  <a:pt x="372" y="1885"/>
                </a:lnTo>
                <a:lnTo>
                  <a:pt x="368" y="1899"/>
                </a:lnTo>
                <a:lnTo>
                  <a:pt x="361" y="1911"/>
                </a:lnTo>
                <a:lnTo>
                  <a:pt x="353" y="1920"/>
                </a:lnTo>
                <a:lnTo>
                  <a:pt x="342" y="1928"/>
                </a:lnTo>
                <a:lnTo>
                  <a:pt x="332" y="1935"/>
                </a:lnTo>
                <a:lnTo>
                  <a:pt x="318" y="1939"/>
                </a:lnTo>
                <a:lnTo>
                  <a:pt x="305" y="1940"/>
                </a:lnTo>
                <a:lnTo>
                  <a:pt x="305" y="1940"/>
                </a:lnTo>
                <a:lnTo>
                  <a:pt x="291" y="1939"/>
                </a:lnTo>
                <a:lnTo>
                  <a:pt x="277" y="1935"/>
                </a:lnTo>
                <a:lnTo>
                  <a:pt x="267" y="1928"/>
                </a:lnTo>
                <a:lnTo>
                  <a:pt x="257" y="1920"/>
                </a:lnTo>
                <a:lnTo>
                  <a:pt x="248" y="1911"/>
                </a:lnTo>
                <a:lnTo>
                  <a:pt x="241" y="1899"/>
                </a:lnTo>
                <a:lnTo>
                  <a:pt x="238" y="1885"/>
                </a:lnTo>
                <a:lnTo>
                  <a:pt x="236" y="1872"/>
                </a:lnTo>
                <a:lnTo>
                  <a:pt x="236" y="1440"/>
                </a:lnTo>
                <a:lnTo>
                  <a:pt x="68" y="1440"/>
                </a:lnTo>
                <a:lnTo>
                  <a:pt x="68" y="1440"/>
                </a:lnTo>
                <a:lnTo>
                  <a:pt x="60" y="1440"/>
                </a:lnTo>
                <a:lnTo>
                  <a:pt x="51" y="1438"/>
                </a:lnTo>
                <a:lnTo>
                  <a:pt x="43" y="1435"/>
                </a:lnTo>
                <a:lnTo>
                  <a:pt x="34" y="1431"/>
                </a:lnTo>
                <a:lnTo>
                  <a:pt x="27" y="1426"/>
                </a:lnTo>
                <a:lnTo>
                  <a:pt x="20" y="1421"/>
                </a:lnTo>
                <a:lnTo>
                  <a:pt x="15" y="1414"/>
                </a:lnTo>
                <a:lnTo>
                  <a:pt x="10" y="1407"/>
                </a:lnTo>
                <a:lnTo>
                  <a:pt x="10" y="1407"/>
                </a:lnTo>
                <a:lnTo>
                  <a:pt x="5" y="1400"/>
                </a:lnTo>
                <a:lnTo>
                  <a:pt x="3" y="1392"/>
                </a:lnTo>
                <a:lnTo>
                  <a:pt x="0" y="1383"/>
                </a:lnTo>
                <a:lnTo>
                  <a:pt x="0" y="1375"/>
                </a:lnTo>
                <a:lnTo>
                  <a:pt x="0" y="1366"/>
                </a:lnTo>
                <a:lnTo>
                  <a:pt x="1" y="1358"/>
                </a:lnTo>
                <a:lnTo>
                  <a:pt x="3" y="1349"/>
                </a:lnTo>
                <a:lnTo>
                  <a:pt x="7" y="1340"/>
                </a:lnTo>
                <a:lnTo>
                  <a:pt x="351" y="650"/>
                </a:lnTo>
                <a:lnTo>
                  <a:pt x="351" y="650"/>
                </a:lnTo>
                <a:lnTo>
                  <a:pt x="354" y="641"/>
                </a:lnTo>
                <a:lnTo>
                  <a:pt x="361" y="634"/>
                </a:lnTo>
                <a:lnTo>
                  <a:pt x="368" y="627"/>
                </a:lnTo>
                <a:lnTo>
                  <a:pt x="375" y="622"/>
                </a:lnTo>
                <a:lnTo>
                  <a:pt x="384" y="617"/>
                </a:lnTo>
                <a:lnTo>
                  <a:pt x="392" y="615"/>
                </a:lnTo>
                <a:lnTo>
                  <a:pt x="402" y="612"/>
                </a:lnTo>
                <a:lnTo>
                  <a:pt x="411" y="612"/>
                </a:lnTo>
                <a:lnTo>
                  <a:pt x="411" y="612"/>
                </a:lnTo>
                <a:lnTo>
                  <a:pt x="421" y="612"/>
                </a:lnTo>
                <a:lnTo>
                  <a:pt x="430" y="615"/>
                </a:lnTo>
                <a:lnTo>
                  <a:pt x="440" y="619"/>
                </a:lnTo>
                <a:lnTo>
                  <a:pt x="449" y="622"/>
                </a:lnTo>
                <a:lnTo>
                  <a:pt x="455" y="627"/>
                </a:lnTo>
                <a:lnTo>
                  <a:pt x="462" y="634"/>
                </a:lnTo>
                <a:lnTo>
                  <a:pt x="467" y="641"/>
                </a:lnTo>
                <a:lnTo>
                  <a:pt x="473" y="650"/>
                </a:lnTo>
                <a:lnTo>
                  <a:pt x="817" y="1340"/>
                </a:lnTo>
                <a:lnTo>
                  <a:pt x="817" y="1340"/>
                </a:lnTo>
                <a:lnTo>
                  <a:pt x="820" y="1349"/>
                </a:lnTo>
                <a:lnTo>
                  <a:pt x="822" y="1358"/>
                </a:lnTo>
                <a:lnTo>
                  <a:pt x="824" y="1366"/>
                </a:lnTo>
                <a:lnTo>
                  <a:pt x="824" y="1375"/>
                </a:lnTo>
                <a:lnTo>
                  <a:pt x="822" y="1383"/>
                </a:lnTo>
                <a:lnTo>
                  <a:pt x="820" y="1392"/>
                </a:lnTo>
                <a:lnTo>
                  <a:pt x="817" y="1400"/>
                </a:lnTo>
                <a:lnTo>
                  <a:pt x="814" y="1407"/>
                </a:lnTo>
                <a:lnTo>
                  <a:pt x="814" y="1407"/>
                </a:lnTo>
                <a:close/>
              </a:path>
            </a:pathLst>
          </a:custGeom>
          <a:solidFill>
            <a:srgbClr val="FB3449"/>
          </a:solidFill>
          <a:ln>
            <a:noFill/>
          </a:ln>
          <a:extLst/>
        </p:spPr>
        <p:txBody>
          <a:bodyPr vert="horz" wrap="square" lIns="91440" tIns="45720" rIns="91440" bIns="45720" numCol="1" anchor="t" anchorCtr="0" compatLnSpc="1">
            <a:prstTxWarp prst="textNoShape">
              <a:avLst/>
            </a:prstTxWarp>
          </a:bodyPr>
          <a:lstStyle/>
          <a:p>
            <a:pPr defTabSz="961813"/>
            <a:endParaRPr lang="en-GB" sz="1900">
              <a:solidFill>
                <a:srgbClr val="00BFD6"/>
              </a:solidFill>
            </a:endParaRPr>
          </a:p>
        </p:txBody>
      </p:sp>
      <p:sp>
        <p:nvSpPr>
          <p:cNvPr id="50" name="Freeform 18"/>
          <p:cNvSpPr>
            <a:spLocks noEditPoints="1"/>
          </p:cNvSpPr>
          <p:nvPr userDrawn="1"/>
        </p:nvSpPr>
        <p:spPr bwMode="auto">
          <a:xfrm>
            <a:off x="10033238" y="1694213"/>
            <a:ext cx="365726" cy="240176"/>
          </a:xfrm>
          <a:custGeom>
            <a:avLst/>
            <a:gdLst>
              <a:gd name="T0" fmla="*/ 70 w 1658"/>
              <a:gd name="T1" fmla="*/ 327 h 1451"/>
              <a:gd name="T2" fmla="*/ 276 w 1658"/>
              <a:gd name="T3" fmla="*/ 135 h 1451"/>
              <a:gd name="T4" fmla="*/ 663 w 1658"/>
              <a:gd name="T5" fmla="*/ 10 h 1451"/>
              <a:gd name="T6" fmla="*/ 1187 w 1658"/>
              <a:gd name="T7" fmla="*/ 51 h 1451"/>
              <a:gd name="T8" fmla="*/ 1577 w 1658"/>
              <a:gd name="T9" fmla="*/ 308 h 1451"/>
              <a:gd name="T10" fmla="*/ 1653 w 1658"/>
              <a:gd name="T11" fmla="*/ 552 h 1451"/>
              <a:gd name="T12" fmla="*/ 1473 w 1658"/>
              <a:gd name="T13" fmla="*/ 648 h 1451"/>
              <a:gd name="T14" fmla="*/ 1353 w 1658"/>
              <a:gd name="T15" fmla="*/ 766 h 1451"/>
              <a:gd name="T16" fmla="*/ 1141 w 1658"/>
              <a:gd name="T17" fmla="*/ 852 h 1451"/>
              <a:gd name="T18" fmla="*/ 1161 w 1658"/>
              <a:gd name="T19" fmla="*/ 639 h 1451"/>
              <a:gd name="T20" fmla="*/ 1631 w 1658"/>
              <a:gd name="T21" fmla="*/ 1242 h 1451"/>
              <a:gd name="T22" fmla="*/ 1394 w 1658"/>
              <a:gd name="T23" fmla="*/ 1450 h 1451"/>
              <a:gd name="T24" fmla="*/ 90 w 1658"/>
              <a:gd name="T25" fmla="*/ 1352 h 1451"/>
              <a:gd name="T26" fmla="*/ 1653 w 1658"/>
              <a:gd name="T27" fmla="*/ 1109 h 1451"/>
              <a:gd name="T28" fmla="*/ 49 w 1658"/>
              <a:gd name="T29" fmla="*/ 984 h 1451"/>
              <a:gd name="T30" fmla="*/ 1 w 1658"/>
              <a:gd name="T31" fmla="*/ 834 h 1451"/>
              <a:gd name="T32" fmla="*/ 776 w 1658"/>
              <a:gd name="T33" fmla="*/ 848 h 1451"/>
              <a:gd name="T34" fmla="*/ 1189 w 1658"/>
              <a:gd name="T35" fmla="*/ 944 h 1451"/>
              <a:gd name="T36" fmla="*/ 1470 w 1658"/>
              <a:gd name="T37" fmla="*/ 781 h 1451"/>
              <a:gd name="T38" fmla="*/ 1615 w 1658"/>
              <a:gd name="T39" fmla="*/ 742 h 1451"/>
              <a:gd name="T40" fmla="*/ 1658 w 1658"/>
              <a:gd name="T41" fmla="*/ 876 h 1451"/>
              <a:gd name="T42" fmla="*/ 1577 w 1658"/>
              <a:gd name="T43" fmla="*/ 1006 h 1451"/>
              <a:gd name="T44" fmla="*/ 353 w 1658"/>
              <a:gd name="T45" fmla="*/ 269 h 1451"/>
              <a:gd name="T46" fmla="*/ 315 w 1658"/>
              <a:gd name="T47" fmla="*/ 180 h 1451"/>
              <a:gd name="T48" fmla="*/ 245 w 1658"/>
              <a:gd name="T49" fmla="*/ 236 h 1451"/>
              <a:gd name="T50" fmla="*/ 550 w 1658"/>
              <a:gd name="T51" fmla="*/ 449 h 1451"/>
              <a:gd name="T52" fmla="*/ 587 w 1658"/>
              <a:gd name="T53" fmla="*/ 360 h 1451"/>
              <a:gd name="T54" fmla="*/ 490 w 1658"/>
              <a:gd name="T55" fmla="*/ 360 h 1451"/>
              <a:gd name="T56" fmla="*/ 526 w 1658"/>
              <a:gd name="T57" fmla="*/ 449 h 1451"/>
              <a:gd name="T58" fmla="*/ 640 w 1658"/>
              <a:gd name="T59" fmla="*/ 133 h 1451"/>
              <a:gd name="T60" fmla="*/ 570 w 1658"/>
              <a:gd name="T61" fmla="*/ 75 h 1451"/>
              <a:gd name="T62" fmla="*/ 534 w 1658"/>
              <a:gd name="T63" fmla="*/ 166 h 1451"/>
              <a:gd name="T64" fmla="*/ 774 w 1658"/>
              <a:gd name="T65" fmla="*/ 313 h 1451"/>
              <a:gd name="T66" fmla="*/ 755 w 1658"/>
              <a:gd name="T67" fmla="*/ 219 h 1451"/>
              <a:gd name="T68" fmla="*/ 673 w 1658"/>
              <a:gd name="T69" fmla="*/ 272 h 1451"/>
              <a:gd name="T70" fmla="*/ 923 w 1658"/>
              <a:gd name="T71" fmla="*/ 351 h 1451"/>
              <a:gd name="T72" fmla="*/ 868 w 1658"/>
              <a:gd name="T73" fmla="*/ 432 h 1451"/>
              <a:gd name="T74" fmla="*/ 964 w 1658"/>
              <a:gd name="T75" fmla="*/ 450 h 1451"/>
              <a:gd name="T76" fmla="*/ 945 w 1658"/>
              <a:gd name="T77" fmla="*/ 356 h 1451"/>
              <a:gd name="T78" fmla="*/ 954 w 1658"/>
              <a:gd name="T79" fmla="*/ 111 h 1451"/>
              <a:gd name="T80" fmla="*/ 897 w 1658"/>
              <a:gd name="T81" fmla="*/ 41 h 1451"/>
              <a:gd name="T82" fmla="*/ 843 w 1658"/>
              <a:gd name="T83" fmla="*/ 121 h 1451"/>
              <a:gd name="T84" fmla="*/ 1048 w 1658"/>
              <a:gd name="T85" fmla="*/ 303 h 1451"/>
              <a:gd name="T86" fmla="*/ 1048 w 1658"/>
              <a:gd name="T87" fmla="*/ 205 h 1451"/>
              <a:gd name="T88" fmla="*/ 959 w 1658"/>
              <a:gd name="T89" fmla="*/ 243 h 1451"/>
              <a:gd name="T90" fmla="*/ 1173 w 1658"/>
              <a:gd name="T91" fmla="*/ 226 h 1451"/>
              <a:gd name="T92" fmla="*/ 1230 w 1658"/>
              <a:gd name="T93" fmla="*/ 156 h 1451"/>
              <a:gd name="T94" fmla="*/ 1141 w 1658"/>
              <a:gd name="T95" fmla="*/ 120 h 1451"/>
              <a:gd name="T96" fmla="*/ 1141 w 1658"/>
              <a:gd name="T97" fmla="*/ 216 h 1451"/>
              <a:gd name="T98" fmla="*/ 1452 w 1658"/>
              <a:gd name="T99" fmla="*/ 307 h 1451"/>
              <a:gd name="T100" fmla="*/ 1398 w 1658"/>
              <a:gd name="T101" fmla="*/ 226 h 1451"/>
              <a:gd name="T102" fmla="*/ 1341 w 1658"/>
              <a:gd name="T103" fmla="*/ 296 h 1451"/>
              <a:gd name="T104" fmla="*/ 1178 w 1658"/>
              <a:gd name="T105" fmla="*/ 447 h 1451"/>
              <a:gd name="T106" fmla="*/ 1274 w 1658"/>
              <a:gd name="T107" fmla="*/ 466 h 1451"/>
              <a:gd name="T108" fmla="*/ 1255 w 1658"/>
              <a:gd name="T109" fmla="*/ 372 h 1451"/>
              <a:gd name="T110" fmla="*/ 1173 w 1658"/>
              <a:gd name="T111" fmla="*/ 425 h 1451"/>
              <a:gd name="T112" fmla="*/ 349 w 1658"/>
              <a:gd name="T113" fmla="*/ 425 h 1451"/>
              <a:gd name="T114" fmla="*/ 269 w 1658"/>
              <a:gd name="T115" fmla="*/ 372 h 1451"/>
              <a:gd name="T116" fmla="*/ 250 w 1658"/>
              <a:gd name="T117" fmla="*/ 466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8" h="1451">
                <a:moveTo>
                  <a:pt x="5" y="550"/>
                </a:moveTo>
                <a:lnTo>
                  <a:pt x="5" y="550"/>
                </a:lnTo>
                <a:lnTo>
                  <a:pt x="7" y="521"/>
                </a:lnTo>
                <a:lnTo>
                  <a:pt x="10" y="490"/>
                </a:lnTo>
                <a:lnTo>
                  <a:pt x="15" y="462"/>
                </a:lnTo>
                <a:lnTo>
                  <a:pt x="22" y="433"/>
                </a:lnTo>
                <a:lnTo>
                  <a:pt x="31" y="406"/>
                </a:lnTo>
                <a:lnTo>
                  <a:pt x="43" y="379"/>
                </a:lnTo>
                <a:lnTo>
                  <a:pt x="55" y="353"/>
                </a:lnTo>
                <a:lnTo>
                  <a:pt x="70" y="327"/>
                </a:lnTo>
                <a:lnTo>
                  <a:pt x="70" y="327"/>
                </a:lnTo>
                <a:lnTo>
                  <a:pt x="70" y="327"/>
                </a:lnTo>
                <a:lnTo>
                  <a:pt x="87" y="303"/>
                </a:lnTo>
                <a:lnTo>
                  <a:pt x="104" y="279"/>
                </a:lnTo>
                <a:lnTo>
                  <a:pt x="125" y="255"/>
                </a:lnTo>
                <a:lnTo>
                  <a:pt x="145" y="233"/>
                </a:lnTo>
                <a:lnTo>
                  <a:pt x="169" y="212"/>
                </a:lnTo>
                <a:lnTo>
                  <a:pt x="193" y="192"/>
                </a:lnTo>
                <a:lnTo>
                  <a:pt x="219" y="171"/>
                </a:lnTo>
                <a:lnTo>
                  <a:pt x="246" y="154"/>
                </a:lnTo>
                <a:lnTo>
                  <a:pt x="246" y="154"/>
                </a:lnTo>
                <a:lnTo>
                  <a:pt x="276" y="135"/>
                </a:lnTo>
                <a:lnTo>
                  <a:pt x="305" y="118"/>
                </a:lnTo>
                <a:lnTo>
                  <a:pt x="335" y="103"/>
                </a:lnTo>
                <a:lnTo>
                  <a:pt x="368" y="89"/>
                </a:lnTo>
                <a:lnTo>
                  <a:pt x="402" y="75"/>
                </a:lnTo>
                <a:lnTo>
                  <a:pt x="437" y="61"/>
                </a:lnTo>
                <a:lnTo>
                  <a:pt x="473" y="51"/>
                </a:lnTo>
                <a:lnTo>
                  <a:pt x="508" y="39"/>
                </a:lnTo>
                <a:lnTo>
                  <a:pt x="546" y="31"/>
                </a:lnTo>
                <a:lnTo>
                  <a:pt x="584" y="22"/>
                </a:lnTo>
                <a:lnTo>
                  <a:pt x="623" y="15"/>
                </a:lnTo>
                <a:lnTo>
                  <a:pt x="663" y="10"/>
                </a:lnTo>
                <a:lnTo>
                  <a:pt x="704" y="5"/>
                </a:lnTo>
                <a:lnTo>
                  <a:pt x="745" y="1"/>
                </a:lnTo>
                <a:lnTo>
                  <a:pt x="788" y="0"/>
                </a:lnTo>
                <a:lnTo>
                  <a:pt x="829" y="0"/>
                </a:lnTo>
                <a:lnTo>
                  <a:pt x="829" y="0"/>
                </a:lnTo>
                <a:lnTo>
                  <a:pt x="892" y="1"/>
                </a:lnTo>
                <a:lnTo>
                  <a:pt x="956" y="5"/>
                </a:lnTo>
                <a:lnTo>
                  <a:pt x="1016" y="13"/>
                </a:lnTo>
                <a:lnTo>
                  <a:pt x="1074" y="22"/>
                </a:lnTo>
                <a:lnTo>
                  <a:pt x="1132" y="36"/>
                </a:lnTo>
                <a:lnTo>
                  <a:pt x="1187" y="51"/>
                </a:lnTo>
                <a:lnTo>
                  <a:pt x="1240" y="68"/>
                </a:lnTo>
                <a:lnTo>
                  <a:pt x="1290" y="89"/>
                </a:lnTo>
                <a:lnTo>
                  <a:pt x="1290" y="89"/>
                </a:lnTo>
                <a:lnTo>
                  <a:pt x="1338" y="111"/>
                </a:lnTo>
                <a:lnTo>
                  <a:pt x="1384" y="135"/>
                </a:lnTo>
                <a:lnTo>
                  <a:pt x="1427" y="163"/>
                </a:lnTo>
                <a:lnTo>
                  <a:pt x="1466" y="192"/>
                </a:lnTo>
                <a:lnTo>
                  <a:pt x="1502" y="223"/>
                </a:lnTo>
                <a:lnTo>
                  <a:pt x="1535" y="255"/>
                </a:lnTo>
                <a:lnTo>
                  <a:pt x="1564" y="291"/>
                </a:lnTo>
                <a:lnTo>
                  <a:pt x="1577" y="308"/>
                </a:lnTo>
                <a:lnTo>
                  <a:pt x="1589" y="327"/>
                </a:lnTo>
                <a:lnTo>
                  <a:pt x="1589" y="327"/>
                </a:lnTo>
                <a:lnTo>
                  <a:pt x="1603" y="353"/>
                </a:lnTo>
                <a:lnTo>
                  <a:pt x="1617" y="379"/>
                </a:lnTo>
                <a:lnTo>
                  <a:pt x="1627" y="406"/>
                </a:lnTo>
                <a:lnTo>
                  <a:pt x="1637" y="433"/>
                </a:lnTo>
                <a:lnTo>
                  <a:pt x="1644" y="462"/>
                </a:lnTo>
                <a:lnTo>
                  <a:pt x="1649" y="490"/>
                </a:lnTo>
                <a:lnTo>
                  <a:pt x="1653" y="521"/>
                </a:lnTo>
                <a:lnTo>
                  <a:pt x="1653" y="550"/>
                </a:lnTo>
                <a:lnTo>
                  <a:pt x="1653" y="552"/>
                </a:lnTo>
                <a:lnTo>
                  <a:pt x="1653" y="552"/>
                </a:lnTo>
                <a:lnTo>
                  <a:pt x="1158" y="552"/>
                </a:lnTo>
                <a:lnTo>
                  <a:pt x="5" y="550"/>
                </a:lnTo>
                <a:lnTo>
                  <a:pt x="5" y="552"/>
                </a:lnTo>
                <a:lnTo>
                  <a:pt x="5" y="552"/>
                </a:lnTo>
                <a:lnTo>
                  <a:pt x="5" y="550"/>
                </a:lnTo>
                <a:lnTo>
                  <a:pt x="5" y="550"/>
                </a:lnTo>
                <a:close/>
                <a:moveTo>
                  <a:pt x="1161" y="639"/>
                </a:moveTo>
                <a:lnTo>
                  <a:pt x="1480" y="639"/>
                </a:lnTo>
                <a:lnTo>
                  <a:pt x="1473" y="648"/>
                </a:lnTo>
                <a:lnTo>
                  <a:pt x="1473" y="648"/>
                </a:lnTo>
                <a:lnTo>
                  <a:pt x="1470" y="653"/>
                </a:lnTo>
                <a:lnTo>
                  <a:pt x="1468" y="654"/>
                </a:lnTo>
                <a:lnTo>
                  <a:pt x="1468" y="654"/>
                </a:lnTo>
                <a:lnTo>
                  <a:pt x="1442" y="682"/>
                </a:lnTo>
                <a:lnTo>
                  <a:pt x="1416" y="709"/>
                </a:lnTo>
                <a:lnTo>
                  <a:pt x="1413" y="713"/>
                </a:lnTo>
                <a:lnTo>
                  <a:pt x="1413" y="713"/>
                </a:lnTo>
                <a:lnTo>
                  <a:pt x="1406" y="720"/>
                </a:lnTo>
                <a:lnTo>
                  <a:pt x="1406" y="720"/>
                </a:lnTo>
                <a:lnTo>
                  <a:pt x="1380" y="744"/>
                </a:lnTo>
                <a:lnTo>
                  <a:pt x="1353" y="766"/>
                </a:lnTo>
                <a:lnTo>
                  <a:pt x="1322" y="788"/>
                </a:lnTo>
                <a:lnTo>
                  <a:pt x="1290" y="809"/>
                </a:lnTo>
                <a:lnTo>
                  <a:pt x="1255" y="826"/>
                </a:lnTo>
                <a:lnTo>
                  <a:pt x="1237" y="833"/>
                </a:lnTo>
                <a:lnTo>
                  <a:pt x="1218" y="840"/>
                </a:lnTo>
                <a:lnTo>
                  <a:pt x="1199" y="845"/>
                </a:lnTo>
                <a:lnTo>
                  <a:pt x="1180" y="848"/>
                </a:lnTo>
                <a:lnTo>
                  <a:pt x="1161" y="852"/>
                </a:lnTo>
                <a:lnTo>
                  <a:pt x="1141" y="852"/>
                </a:lnTo>
                <a:lnTo>
                  <a:pt x="1141" y="852"/>
                </a:lnTo>
                <a:lnTo>
                  <a:pt x="1141" y="852"/>
                </a:lnTo>
                <a:lnTo>
                  <a:pt x="1120" y="852"/>
                </a:lnTo>
                <a:lnTo>
                  <a:pt x="1098" y="850"/>
                </a:lnTo>
                <a:lnTo>
                  <a:pt x="1076" y="845"/>
                </a:lnTo>
                <a:lnTo>
                  <a:pt x="1050" y="840"/>
                </a:lnTo>
                <a:lnTo>
                  <a:pt x="993" y="826"/>
                </a:lnTo>
                <a:lnTo>
                  <a:pt x="930" y="805"/>
                </a:lnTo>
                <a:lnTo>
                  <a:pt x="930" y="805"/>
                </a:lnTo>
                <a:lnTo>
                  <a:pt x="872" y="785"/>
                </a:lnTo>
                <a:lnTo>
                  <a:pt x="805" y="759"/>
                </a:lnTo>
                <a:lnTo>
                  <a:pt x="789" y="752"/>
                </a:lnTo>
                <a:lnTo>
                  <a:pt x="1161" y="639"/>
                </a:lnTo>
                <a:close/>
                <a:moveTo>
                  <a:pt x="298" y="807"/>
                </a:moveTo>
                <a:lnTo>
                  <a:pt x="147" y="639"/>
                </a:lnTo>
                <a:lnTo>
                  <a:pt x="853" y="639"/>
                </a:lnTo>
                <a:lnTo>
                  <a:pt x="853" y="639"/>
                </a:lnTo>
                <a:lnTo>
                  <a:pt x="298" y="807"/>
                </a:lnTo>
                <a:close/>
                <a:moveTo>
                  <a:pt x="1653" y="1109"/>
                </a:moveTo>
                <a:lnTo>
                  <a:pt x="1653" y="1109"/>
                </a:lnTo>
                <a:lnTo>
                  <a:pt x="1651" y="1143"/>
                </a:lnTo>
                <a:lnTo>
                  <a:pt x="1648" y="1177"/>
                </a:lnTo>
                <a:lnTo>
                  <a:pt x="1641" y="1210"/>
                </a:lnTo>
                <a:lnTo>
                  <a:pt x="1631" y="1242"/>
                </a:lnTo>
                <a:lnTo>
                  <a:pt x="1619" y="1271"/>
                </a:lnTo>
                <a:lnTo>
                  <a:pt x="1605" y="1301"/>
                </a:lnTo>
                <a:lnTo>
                  <a:pt x="1588" y="1326"/>
                </a:lnTo>
                <a:lnTo>
                  <a:pt x="1569" y="1352"/>
                </a:lnTo>
                <a:lnTo>
                  <a:pt x="1548" y="1374"/>
                </a:lnTo>
                <a:lnTo>
                  <a:pt x="1526" y="1393"/>
                </a:lnTo>
                <a:lnTo>
                  <a:pt x="1502" y="1410"/>
                </a:lnTo>
                <a:lnTo>
                  <a:pt x="1478" y="1426"/>
                </a:lnTo>
                <a:lnTo>
                  <a:pt x="1451" y="1436"/>
                </a:lnTo>
                <a:lnTo>
                  <a:pt x="1423" y="1445"/>
                </a:lnTo>
                <a:lnTo>
                  <a:pt x="1394" y="1450"/>
                </a:lnTo>
                <a:lnTo>
                  <a:pt x="1365" y="1451"/>
                </a:lnTo>
                <a:lnTo>
                  <a:pt x="293" y="1451"/>
                </a:lnTo>
                <a:lnTo>
                  <a:pt x="293" y="1451"/>
                </a:lnTo>
                <a:lnTo>
                  <a:pt x="264" y="1450"/>
                </a:lnTo>
                <a:lnTo>
                  <a:pt x="234" y="1445"/>
                </a:lnTo>
                <a:lnTo>
                  <a:pt x="207" y="1436"/>
                </a:lnTo>
                <a:lnTo>
                  <a:pt x="181" y="1426"/>
                </a:lnTo>
                <a:lnTo>
                  <a:pt x="156" y="1410"/>
                </a:lnTo>
                <a:lnTo>
                  <a:pt x="132" y="1393"/>
                </a:lnTo>
                <a:lnTo>
                  <a:pt x="109" y="1374"/>
                </a:lnTo>
                <a:lnTo>
                  <a:pt x="90" y="1352"/>
                </a:lnTo>
                <a:lnTo>
                  <a:pt x="72" y="1326"/>
                </a:lnTo>
                <a:lnTo>
                  <a:pt x="55" y="1301"/>
                </a:lnTo>
                <a:lnTo>
                  <a:pt x="41" y="1271"/>
                </a:lnTo>
                <a:lnTo>
                  <a:pt x="29" y="1242"/>
                </a:lnTo>
                <a:lnTo>
                  <a:pt x="19" y="1210"/>
                </a:lnTo>
                <a:lnTo>
                  <a:pt x="12" y="1177"/>
                </a:lnTo>
                <a:lnTo>
                  <a:pt x="7" y="1143"/>
                </a:lnTo>
                <a:lnTo>
                  <a:pt x="5" y="1109"/>
                </a:lnTo>
                <a:lnTo>
                  <a:pt x="1653" y="1109"/>
                </a:lnTo>
                <a:lnTo>
                  <a:pt x="1653" y="1109"/>
                </a:lnTo>
                <a:lnTo>
                  <a:pt x="1653" y="1109"/>
                </a:lnTo>
                <a:lnTo>
                  <a:pt x="1653" y="1109"/>
                </a:lnTo>
                <a:close/>
                <a:moveTo>
                  <a:pt x="1526" y="1020"/>
                </a:moveTo>
                <a:lnTo>
                  <a:pt x="133" y="1020"/>
                </a:lnTo>
                <a:lnTo>
                  <a:pt x="133" y="1020"/>
                </a:lnTo>
                <a:lnTo>
                  <a:pt x="120" y="1018"/>
                </a:lnTo>
                <a:lnTo>
                  <a:pt x="106" y="1016"/>
                </a:lnTo>
                <a:lnTo>
                  <a:pt x="94" y="1013"/>
                </a:lnTo>
                <a:lnTo>
                  <a:pt x="82" y="1008"/>
                </a:lnTo>
                <a:lnTo>
                  <a:pt x="70" y="1001"/>
                </a:lnTo>
                <a:lnTo>
                  <a:pt x="60" y="992"/>
                </a:lnTo>
                <a:lnTo>
                  <a:pt x="49" y="984"/>
                </a:lnTo>
                <a:lnTo>
                  <a:pt x="39" y="973"/>
                </a:lnTo>
                <a:lnTo>
                  <a:pt x="31" y="961"/>
                </a:lnTo>
                <a:lnTo>
                  <a:pt x="24" y="949"/>
                </a:lnTo>
                <a:lnTo>
                  <a:pt x="17" y="937"/>
                </a:lnTo>
                <a:lnTo>
                  <a:pt x="10" y="924"/>
                </a:lnTo>
                <a:lnTo>
                  <a:pt x="7" y="908"/>
                </a:lnTo>
                <a:lnTo>
                  <a:pt x="3" y="893"/>
                </a:lnTo>
                <a:lnTo>
                  <a:pt x="1" y="877"/>
                </a:lnTo>
                <a:lnTo>
                  <a:pt x="0" y="860"/>
                </a:lnTo>
                <a:lnTo>
                  <a:pt x="0" y="860"/>
                </a:lnTo>
                <a:lnTo>
                  <a:pt x="1" y="834"/>
                </a:lnTo>
                <a:lnTo>
                  <a:pt x="7" y="810"/>
                </a:lnTo>
                <a:lnTo>
                  <a:pt x="15" y="788"/>
                </a:lnTo>
                <a:lnTo>
                  <a:pt x="25" y="768"/>
                </a:lnTo>
                <a:lnTo>
                  <a:pt x="39" y="749"/>
                </a:lnTo>
                <a:lnTo>
                  <a:pt x="55" y="732"/>
                </a:lnTo>
                <a:lnTo>
                  <a:pt x="72" y="720"/>
                </a:lnTo>
                <a:lnTo>
                  <a:pt x="90" y="709"/>
                </a:lnTo>
                <a:lnTo>
                  <a:pt x="270" y="910"/>
                </a:lnTo>
                <a:lnTo>
                  <a:pt x="649" y="795"/>
                </a:lnTo>
                <a:lnTo>
                  <a:pt x="649" y="795"/>
                </a:lnTo>
                <a:lnTo>
                  <a:pt x="776" y="848"/>
                </a:lnTo>
                <a:lnTo>
                  <a:pt x="776" y="848"/>
                </a:lnTo>
                <a:lnTo>
                  <a:pt x="875" y="886"/>
                </a:lnTo>
                <a:lnTo>
                  <a:pt x="925" y="903"/>
                </a:lnTo>
                <a:lnTo>
                  <a:pt x="971" y="918"/>
                </a:lnTo>
                <a:lnTo>
                  <a:pt x="1017" y="930"/>
                </a:lnTo>
                <a:lnTo>
                  <a:pt x="1060" y="939"/>
                </a:lnTo>
                <a:lnTo>
                  <a:pt x="1101" y="946"/>
                </a:lnTo>
                <a:lnTo>
                  <a:pt x="1141" y="948"/>
                </a:lnTo>
                <a:lnTo>
                  <a:pt x="1141" y="948"/>
                </a:lnTo>
                <a:lnTo>
                  <a:pt x="1165" y="948"/>
                </a:lnTo>
                <a:lnTo>
                  <a:pt x="1189" y="944"/>
                </a:lnTo>
                <a:lnTo>
                  <a:pt x="1213" y="939"/>
                </a:lnTo>
                <a:lnTo>
                  <a:pt x="1237" y="932"/>
                </a:lnTo>
                <a:lnTo>
                  <a:pt x="1259" y="925"/>
                </a:lnTo>
                <a:lnTo>
                  <a:pt x="1281" y="917"/>
                </a:lnTo>
                <a:lnTo>
                  <a:pt x="1303" y="906"/>
                </a:lnTo>
                <a:lnTo>
                  <a:pt x="1324" y="894"/>
                </a:lnTo>
                <a:lnTo>
                  <a:pt x="1344" y="882"/>
                </a:lnTo>
                <a:lnTo>
                  <a:pt x="1365" y="869"/>
                </a:lnTo>
                <a:lnTo>
                  <a:pt x="1403" y="841"/>
                </a:lnTo>
                <a:lnTo>
                  <a:pt x="1437" y="810"/>
                </a:lnTo>
                <a:lnTo>
                  <a:pt x="1470" y="781"/>
                </a:lnTo>
                <a:lnTo>
                  <a:pt x="1470" y="781"/>
                </a:lnTo>
                <a:lnTo>
                  <a:pt x="1507" y="740"/>
                </a:lnTo>
                <a:lnTo>
                  <a:pt x="1540" y="701"/>
                </a:lnTo>
                <a:lnTo>
                  <a:pt x="1540" y="701"/>
                </a:lnTo>
                <a:lnTo>
                  <a:pt x="1552" y="704"/>
                </a:lnTo>
                <a:lnTo>
                  <a:pt x="1564" y="708"/>
                </a:lnTo>
                <a:lnTo>
                  <a:pt x="1576" y="713"/>
                </a:lnTo>
                <a:lnTo>
                  <a:pt x="1586" y="718"/>
                </a:lnTo>
                <a:lnTo>
                  <a:pt x="1596" y="725"/>
                </a:lnTo>
                <a:lnTo>
                  <a:pt x="1607" y="733"/>
                </a:lnTo>
                <a:lnTo>
                  <a:pt x="1615" y="742"/>
                </a:lnTo>
                <a:lnTo>
                  <a:pt x="1624" y="752"/>
                </a:lnTo>
                <a:lnTo>
                  <a:pt x="1632" y="764"/>
                </a:lnTo>
                <a:lnTo>
                  <a:pt x="1639" y="774"/>
                </a:lnTo>
                <a:lnTo>
                  <a:pt x="1644" y="788"/>
                </a:lnTo>
                <a:lnTo>
                  <a:pt x="1649" y="800"/>
                </a:lnTo>
                <a:lnTo>
                  <a:pt x="1653" y="814"/>
                </a:lnTo>
                <a:lnTo>
                  <a:pt x="1656" y="829"/>
                </a:lnTo>
                <a:lnTo>
                  <a:pt x="1658" y="843"/>
                </a:lnTo>
                <a:lnTo>
                  <a:pt x="1658" y="858"/>
                </a:lnTo>
                <a:lnTo>
                  <a:pt x="1658" y="858"/>
                </a:lnTo>
                <a:lnTo>
                  <a:pt x="1658" y="876"/>
                </a:lnTo>
                <a:lnTo>
                  <a:pt x="1656" y="891"/>
                </a:lnTo>
                <a:lnTo>
                  <a:pt x="1653" y="906"/>
                </a:lnTo>
                <a:lnTo>
                  <a:pt x="1648" y="922"/>
                </a:lnTo>
                <a:lnTo>
                  <a:pt x="1643" y="936"/>
                </a:lnTo>
                <a:lnTo>
                  <a:pt x="1636" y="948"/>
                </a:lnTo>
                <a:lnTo>
                  <a:pt x="1629" y="961"/>
                </a:lnTo>
                <a:lnTo>
                  <a:pt x="1620" y="972"/>
                </a:lnTo>
                <a:lnTo>
                  <a:pt x="1610" y="982"/>
                </a:lnTo>
                <a:lnTo>
                  <a:pt x="1600" y="992"/>
                </a:lnTo>
                <a:lnTo>
                  <a:pt x="1589" y="999"/>
                </a:lnTo>
                <a:lnTo>
                  <a:pt x="1577" y="1006"/>
                </a:lnTo>
                <a:lnTo>
                  <a:pt x="1565" y="1013"/>
                </a:lnTo>
                <a:lnTo>
                  <a:pt x="1552" y="1016"/>
                </a:lnTo>
                <a:lnTo>
                  <a:pt x="1540" y="1018"/>
                </a:lnTo>
                <a:lnTo>
                  <a:pt x="1526" y="1020"/>
                </a:lnTo>
                <a:close/>
                <a:moveTo>
                  <a:pt x="303" y="295"/>
                </a:moveTo>
                <a:lnTo>
                  <a:pt x="303" y="295"/>
                </a:lnTo>
                <a:lnTo>
                  <a:pt x="315" y="293"/>
                </a:lnTo>
                <a:lnTo>
                  <a:pt x="327" y="289"/>
                </a:lnTo>
                <a:lnTo>
                  <a:pt x="337" y="284"/>
                </a:lnTo>
                <a:lnTo>
                  <a:pt x="346" y="277"/>
                </a:lnTo>
                <a:lnTo>
                  <a:pt x="353" y="269"/>
                </a:lnTo>
                <a:lnTo>
                  <a:pt x="358" y="259"/>
                </a:lnTo>
                <a:lnTo>
                  <a:pt x="361" y="248"/>
                </a:lnTo>
                <a:lnTo>
                  <a:pt x="363" y="236"/>
                </a:lnTo>
                <a:lnTo>
                  <a:pt x="363" y="236"/>
                </a:lnTo>
                <a:lnTo>
                  <a:pt x="361" y="224"/>
                </a:lnTo>
                <a:lnTo>
                  <a:pt x="358" y="214"/>
                </a:lnTo>
                <a:lnTo>
                  <a:pt x="353" y="204"/>
                </a:lnTo>
                <a:lnTo>
                  <a:pt x="346" y="195"/>
                </a:lnTo>
                <a:lnTo>
                  <a:pt x="337" y="188"/>
                </a:lnTo>
                <a:lnTo>
                  <a:pt x="327" y="183"/>
                </a:lnTo>
                <a:lnTo>
                  <a:pt x="315" y="180"/>
                </a:lnTo>
                <a:lnTo>
                  <a:pt x="303" y="178"/>
                </a:lnTo>
                <a:lnTo>
                  <a:pt x="303" y="178"/>
                </a:lnTo>
                <a:lnTo>
                  <a:pt x="291" y="180"/>
                </a:lnTo>
                <a:lnTo>
                  <a:pt x="281" y="183"/>
                </a:lnTo>
                <a:lnTo>
                  <a:pt x="270" y="188"/>
                </a:lnTo>
                <a:lnTo>
                  <a:pt x="262" y="195"/>
                </a:lnTo>
                <a:lnTo>
                  <a:pt x="255" y="204"/>
                </a:lnTo>
                <a:lnTo>
                  <a:pt x="250" y="214"/>
                </a:lnTo>
                <a:lnTo>
                  <a:pt x="246" y="224"/>
                </a:lnTo>
                <a:lnTo>
                  <a:pt x="245" y="236"/>
                </a:lnTo>
                <a:lnTo>
                  <a:pt x="245" y="236"/>
                </a:lnTo>
                <a:lnTo>
                  <a:pt x="246" y="248"/>
                </a:lnTo>
                <a:lnTo>
                  <a:pt x="250" y="259"/>
                </a:lnTo>
                <a:lnTo>
                  <a:pt x="255" y="269"/>
                </a:lnTo>
                <a:lnTo>
                  <a:pt x="262" y="277"/>
                </a:lnTo>
                <a:lnTo>
                  <a:pt x="270" y="284"/>
                </a:lnTo>
                <a:lnTo>
                  <a:pt x="281" y="289"/>
                </a:lnTo>
                <a:lnTo>
                  <a:pt x="291" y="293"/>
                </a:lnTo>
                <a:lnTo>
                  <a:pt x="303" y="295"/>
                </a:lnTo>
                <a:close/>
                <a:moveTo>
                  <a:pt x="538" y="450"/>
                </a:moveTo>
                <a:lnTo>
                  <a:pt x="538" y="450"/>
                </a:lnTo>
                <a:lnTo>
                  <a:pt x="550" y="449"/>
                </a:lnTo>
                <a:lnTo>
                  <a:pt x="560" y="445"/>
                </a:lnTo>
                <a:lnTo>
                  <a:pt x="570" y="440"/>
                </a:lnTo>
                <a:lnTo>
                  <a:pt x="579" y="433"/>
                </a:lnTo>
                <a:lnTo>
                  <a:pt x="587" y="425"/>
                </a:lnTo>
                <a:lnTo>
                  <a:pt x="592" y="415"/>
                </a:lnTo>
                <a:lnTo>
                  <a:pt x="596" y="403"/>
                </a:lnTo>
                <a:lnTo>
                  <a:pt x="596" y="392"/>
                </a:lnTo>
                <a:lnTo>
                  <a:pt x="596" y="392"/>
                </a:lnTo>
                <a:lnTo>
                  <a:pt x="596" y="380"/>
                </a:lnTo>
                <a:lnTo>
                  <a:pt x="592" y="368"/>
                </a:lnTo>
                <a:lnTo>
                  <a:pt x="587" y="360"/>
                </a:lnTo>
                <a:lnTo>
                  <a:pt x="579" y="351"/>
                </a:lnTo>
                <a:lnTo>
                  <a:pt x="570" y="343"/>
                </a:lnTo>
                <a:lnTo>
                  <a:pt x="560" y="337"/>
                </a:lnTo>
                <a:lnTo>
                  <a:pt x="550" y="334"/>
                </a:lnTo>
                <a:lnTo>
                  <a:pt x="538" y="334"/>
                </a:lnTo>
                <a:lnTo>
                  <a:pt x="538" y="334"/>
                </a:lnTo>
                <a:lnTo>
                  <a:pt x="526" y="334"/>
                </a:lnTo>
                <a:lnTo>
                  <a:pt x="515" y="337"/>
                </a:lnTo>
                <a:lnTo>
                  <a:pt x="505" y="343"/>
                </a:lnTo>
                <a:lnTo>
                  <a:pt x="496" y="351"/>
                </a:lnTo>
                <a:lnTo>
                  <a:pt x="490" y="360"/>
                </a:lnTo>
                <a:lnTo>
                  <a:pt x="485" y="368"/>
                </a:lnTo>
                <a:lnTo>
                  <a:pt x="481" y="380"/>
                </a:lnTo>
                <a:lnTo>
                  <a:pt x="479" y="392"/>
                </a:lnTo>
                <a:lnTo>
                  <a:pt x="479" y="392"/>
                </a:lnTo>
                <a:lnTo>
                  <a:pt x="481" y="403"/>
                </a:lnTo>
                <a:lnTo>
                  <a:pt x="485" y="415"/>
                </a:lnTo>
                <a:lnTo>
                  <a:pt x="490" y="425"/>
                </a:lnTo>
                <a:lnTo>
                  <a:pt x="496" y="433"/>
                </a:lnTo>
                <a:lnTo>
                  <a:pt x="505" y="440"/>
                </a:lnTo>
                <a:lnTo>
                  <a:pt x="515" y="445"/>
                </a:lnTo>
                <a:lnTo>
                  <a:pt x="526" y="449"/>
                </a:lnTo>
                <a:lnTo>
                  <a:pt x="538" y="450"/>
                </a:lnTo>
                <a:close/>
                <a:moveTo>
                  <a:pt x="582" y="192"/>
                </a:moveTo>
                <a:lnTo>
                  <a:pt x="582" y="192"/>
                </a:lnTo>
                <a:lnTo>
                  <a:pt x="594" y="190"/>
                </a:lnTo>
                <a:lnTo>
                  <a:pt x="604" y="187"/>
                </a:lnTo>
                <a:lnTo>
                  <a:pt x="615" y="181"/>
                </a:lnTo>
                <a:lnTo>
                  <a:pt x="623" y="175"/>
                </a:lnTo>
                <a:lnTo>
                  <a:pt x="632" y="166"/>
                </a:lnTo>
                <a:lnTo>
                  <a:pt x="637" y="156"/>
                </a:lnTo>
                <a:lnTo>
                  <a:pt x="640" y="144"/>
                </a:lnTo>
                <a:lnTo>
                  <a:pt x="640" y="133"/>
                </a:lnTo>
                <a:lnTo>
                  <a:pt x="640" y="133"/>
                </a:lnTo>
                <a:lnTo>
                  <a:pt x="640" y="121"/>
                </a:lnTo>
                <a:lnTo>
                  <a:pt x="637" y="109"/>
                </a:lnTo>
                <a:lnTo>
                  <a:pt x="632" y="101"/>
                </a:lnTo>
                <a:lnTo>
                  <a:pt x="623" y="92"/>
                </a:lnTo>
                <a:lnTo>
                  <a:pt x="615" y="84"/>
                </a:lnTo>
                <a:lnTo>
                  <a:pt x="604" y="79"/>
                </a:lnTo>
                <a:lnTo>
                  <a:pt x="594" y="75"/>
                </a:lnTo>
                <a:lnTo>
                  <a:pt x="582" y="75"/>
                </a:lnTo>
                <a:lnTo>
                  <a:pt x="582" y="75"/>
                </a:lnTo>
                <a:lnTo>
                  <a:pt x="570" y="75"/>
                </a:lnTo>
                <a:lnTo>
                  <a:pt x="560" y="79"/>
                </a:lnTo>
                <a:lnTo>
                  <a:pt x="550" y="84"/>
                </a:lnTo>
                <a:lnTo>
                  <a:pt x="541" y="92"/>
                </a:lnTo>
                <a:lnTo>
                  <a:pt x="534" y="101"/>
                </a:lnTo>
                <a:lnTo>
                  <a:pt x="529" y="109"/>
                </a:lnTo>
                <a:lnTo>
                  <a:pt x="526" y="121"/>
                </a:lnTo>
                <a:lnTo>
                  <a:pt x="524" y="133"/>
                </a:lnTo>
                <a:lnTo>
                  <a:pt x="524" y="133"/>
                </a:lnTo>
                <a:lnTo>
                  <a:pt x="526" y="144"/>
                </a:lnTo>
                <a:lnTo>
                  <a:pt x="529" y="156"/>
                </a:lnTo>
                <a:lnTo>
                  <a:pt x="534" y="166"/>
                </a:lnTo>
                <a:lnTo>
                  <a:pt x="541" y="175"/>
                </a:lnTo>
                <a:lnTo>
                  <a:pt x="550" y="181"/>
                </a:lnTo>
                <a:lnTo>
                  <a:pt x="560" y="187"/>
                </a:lnTo>
                <a:lnTo>
                  <a:pt x="570" y="190"/>
                </a:lnTo>
                <a:lnTo>
                  <a:pt x="582" y="192"/>
                </a:lnTo>
                <a:close/>
                <a:moveTo>
                  <a:pt x="731" y="331"/>
                </a:moveTo>
                <a:lnTo>
                  <a:pt x="731" y="331"/>
                </a:lnTo>
                <a:lnTo>
                  <a:pt x="743" y="329"/>
                </a:lnTo>
                <a:lnTo>
                  <a:pt x="755" y="325"/>
                </a:lnTo>
                <a:lnTo>
                  <a:pt x="764" y="320"/>
                </a:lnTo>
                <a:lnTo>
                  <a:pt x="774" y="313"/>
                </a:lnTo>
                <a:lnTo>
                  <a:pt x="781" y="305"/>
                </a:lnTo>
                <a:lnTo>
                  <a:pt x="786" y="295"/>
                </a:lnTo>
                <a:lnTo>
                  <a:pt x="789" y="284"/>
                </a:lnTo>
                <a:lnTo>
                  <a:pt x="791" y="272"/>
                </a:lnTo>
                <a:lnTo>
                  <a:pt x="791" y="272"/>
                </a:lnTo>
                <a:lnTo>
                  <a:pt x="789" y="260"/>
                </a:lnTo>
                <a:lnTo>
                  <a:pt x="786" y="250"/>
                </a:lnTo>
                <a:lnTo>
                  <a:pt x="781" y="240"/>
                </a:lnTo>
                <a:lnTo>
                  <a:pt x="774" y="231"/>
                </a:lnTo>
                <a:lnTo>
                  <a:pt x="764" y="224"/>
                </a:lnTo>
                <a:lnTo>
                  <a:pt x="755" y="219"/>
                </a:lnTo>
                <a:lnTo>
                  <a:pt x="743" y="216"/>
                </a:lnTo>
                <a:lnTo>
                  <a:pt x="731" y="214"/>
                </a:lnTo>
                <a:lnTo>
                  <a:pt x="731" y="214"/>
                </a:lnTo>
                <a:lnTo>
                  <a:pt x="719" y="216"/>
                </a:lnTo>
                <a:lnTo>
                  <a:pt x="709" y="219"/>
                </a:lnTo>
                <a:lnTo>
                  <a:pt x="699" y="224"/>
                </a:lnTo>
                <a:lnTo>
                  <a:pt x="690" y="231"/>
                </a:lnTo>
                <a:lnTo>
                  <a:pt x="683" y="240"/>
                </a:lnTo>
                <a:lnTo>
                  <a:pt x="678" y="250"/>
                </a:lnTo>
                <a:lnTo>
                  <a:pt x="675" y="260"/>
                </a:lnTo>
                <a:lnTo>
                  <a:pt x="673" y="272"/>
                </a:lnTo>
                <a:lnTo>
                  <a:pt x="673" y="272"/>
                </a:lnTo>
                <a:lnTo>
                  <a:pt x="675" y="284"/>
                </a:lnTo>
                <a:lnTo>
                  <a:pt x="678" y="295"/>
                </a:lnTo>
                <a:lnTo>
                  <a:pt x="683" y="305"/>
                </a:lnTo>
                <a:lnTo>
                  <a:pt x="690" y="313"/>
                </a:lnTo>
                <a:lnTo>
                  <a:pt x="699" y="320"/>
                </a:lnTo>
                <a:lnTo>
                  <a:pt x="709" y="325"/>
                </a:lnTo>
                <a:lnTo>
                  <a:pt x="719" y="329"/>
                </a:lnTo>
                <a:lnTo>
                  <a:pt x="731" y="331"/>
                </a:lnTo>
                <a:close/>
                <a:moveTo>
                  <a:pt x="923" y="351"/>
                </a:moveTo>
                <a:lnTo>
                  <a:pt x="923" y="351"/>
                </a:lnTo>
                <a:lnTo>
                  <a:pt x="911" y="353"/>
                </a:lnTo>
                <a:lnTo>
                  <a:pt x="901" y="356"/>
                </a:lnTo>
                <a:lnTo>
                  <a:pt x="891" y="361"/>
                </a:lnTo>
                <a:lnTo>
                  <a:pt x="882" y="368"/>
                </a:lnTo>
                <a:lnTo>
                  <a:pt x="875" y="377"/>
                </a:lnTo>
                <a:lnTo>
                  <a:pt x="868" y="387"/>
                </a:lnTo>
                <a:lnTo>
                  <a:pt x="865" y="397"/>
                </a:lnTo>
                <a:lnTo>
                  <a:pt x="865" y="409"/>
                </a:lnTo>
                <a:lnTo>
                  <a:pt x="865" y="409"/>
                </a:lnTo>
                <a:lnTo>
                  <a:pt x="865" y="421"/>
                </a:lnTo>
                <a:lnTo>
                  <a:pt x="868" y="432"/>
                </a:lnTo>
                <a:lnTo>
                  <a:pt x="875" y="442"/>
                </a:lnTo>
                <a:lnTo>
                  <a:pt x="882" y="450"/>
                </a:lnTo>
                <a:lnTo>
                  <a:pt x="891" y="457"/>
                </a:lnTo>
                <a:lnTo>
                  <a:pt x="901" y="462"/>
                </a:lnTo>
                <a:lnTo>
                  <a:pt x="911" y="466"/>
                </a:lnTo>
                <a:lnTo>
                  <a:pt x="923" y="468"/>
                </a:lnTo>
                <a:lnTo>
                  <a:pt x="923" y="468"/>
                </a:lnTo>
                <a:lnTo>
                  <a:pt x="935" y="466"/>
                </a:lnTo>
                <a:lnTo>
                  <a:pt x="945" y="462"/>
                </a:lnTo>
                <a:lnTo>
                  <a:pt x="956" y="457"/>
                </a:lnTo>
                <a:lnTo>
                  <a:pt x="964" y="450"/>
                </a:lnTo>
                <a:lnTo>
                  <a:pt x="971" y="442"/>
                </a:lnTo>
                <a:lnTo>
                  <a:pt x="978" y="432"/>
                </a:lnTo>
                <a:lnTo>
                  <a:pt x="981" y="421"/>
                </a:lnTo>
                <a:lnTo>
                  <a:pt x="981" y="409"/>
                </a:lnTo>
                <a:lnTo>
                  <a:pt x="981" y="409"/>
                </a:lnTo>
                <a:lnTo>
                  <a:pt x="981" y="397"/>
                </a:lnTo>
                <a:lnTo>
                  <a:pt x="978" y="387"/>
                </a:lnTo>
                <a:lnTo>
                  <a:pt x="971" y="377"/>
                </a:lnTo>
                <a:lnTo>
                  <a:pt x="964" y="368"/>
                </a:lnTo>
                <a:lnTo>
                  <a:pt x="956" y="361"/>
                </a:lnTo>
                <a:lnTo>
                  <a:pt x="945" y="356"/>
                </a:lnTo>
                <a:lnTo>
                  <a:pt x="935" y="353"/>
                </a:lnTo>
                <a:lnTo>
                  <a:pt x="923" y="351"/>
                </a:lnTo>
                <a:close/>
                <a:moveTo>
                  <a:pt x="897" y="157"/>
                </a:moveTo>
                <a:lnTo>
                  <a:pt x="897" y="157"/>
                </a:lnTo>
                <a:lnTo>
                  <a:pt x="909" y="157"/>
                </a:lnTo>
                <a:lnTo>
                  <a:pt x="920" y="154"/>
                </a:lnTo>
                <a:lnTo>
                  <a:pt x="930" y="147"/>
                </a:lnTo>
                <a:lnTo>
                  <a:pt x="938" y="140"/>
                </a:lnTo>
                <a:lnTo>
                  <a:pt x="945" y="132"/>
                </a:lnTo>
                <a:lnTo>
                  <a:pt x="950" y="121"/>
                </a:lnTo>
                <a:lnTo>
                  <a:pt x="954" y="111"/>
                </a:lnTo>
                <a:lnTo>
                  <a:pt x="956" y="99"/>
                </a:lnTo>
                <a:lnTo>
                  <a:pt x="956" y="99"/>
                </a:lnTo>
                <a:lnTo>
                  <a:pt x="954" y="87"/>
                </a:lnTo>
                <a:lnTo>
                  <a:pt x="950" y="77"/>
                </a:lnTo>
                <a:lnTo>
                  <a:pt x="945" y="67"/>
                </a:lnTo>
                <a:lnTo>
                  <a:pt x="938" y="58"/>
                </a:lnTo>
                <a:lnTo>
                  <a:pt x="930" y="51"/>
                </a:lnTo>
                <a:lnTo>
                  <a:pt x="920" y="46"/>
                </a:lnTo>
                <a:lnTo>
                  <a:pt x="909" y="43"/>
                </a:lnTo>
                <a:lnTo>
                  <a:pt x="897" y="41"/>
                </a:lnTo>
                <a:lnTo>
                  <a:pt x="897" y="41"/>
                </a:lnTo>
                <a:lnTo>
                  <a:pt x="885" y="43"/>
                </a:lnTo>
                <a:lnTo>
                  <a:pt x="873" y="46"/>
                </a:lnTo>
                <a:lnTo>
                  <a:pt x="865" y="51"/>
                </a:lnTo>
                <a:lnTo>
                  <a:pt x="855" y="58"/>
                </a:lnTo>
                <a:lnTo>
                  <a:pt x="848" y="67"/>
                </a:lnTo>
                <a:lnTo>
                  <a:pt x="843" y="77"/>
                </a:lnTo>
                <a:lnTo>
                  <a:pt x="839" y="87"/>
                </a:lnTo>
                <a:lnTo>
                  <a:pt x="837" y="99"/>
                </a:lnTo>
                <a:lnTo>
                  <a:pt x="837" y="99"/>
                </a:lnTo>
                <a:lnTo>
                  <a:pt x="839" y="111"/>
                </a:lnTo>
                <a:lnTo>
                  <a:pt x="843" y="121"/>
                </a:lnTo>
                <a:lnTo>
                  <a:pt x="848" y="132"/>
                </a:lnTo>
                <a:lnTo>
                  <a:pt x="855" y="140"/>
                </a:lnTo>
                <a:lnTo>
                  <a:pt x="865" y="147"/>
                </a:lnTo>
                <a:lnTo>
                  <a:pt x="873" y="154"/>
                </a:lnTo>
                <a:lnTo>
                  <a:pt x="885" y="157"/>
                </a:lnTo>
                <a:lnTo>
                  <a:pt x="897" y="157"/>
                </a:lnTo>
                <a:close/>
                <a:moveTo>
                  <a:pt x="1016" y="312"/>
                </a:moveTo>
                <a:lnTo>
                  <a:pt x="1016" y="312"/>
                </a:lnTo>
                <a:lnTo>
                  <a:pt x="1028" y="312"/>
                </a:lnTo>
                <a:lnTo>
                  <a:pt x="1040" y="308"/>
                </a:lnTo>
                <a:lnTo>
                  <a:pt x="1048" y="303"/>
                </a:lnTo>
                <a:lnTo>
                  <a:pt x="1057" y="296"/>
                </a:lnTo>
                <a:lnTo>
                  <a:pt x="1065" y="286"/>
                </a:lnTo>
                <a:lnTo>
                  <a:pt x="1070" y="277"/>
                </a:lnTo>
                <a:lnTo>
                  <a:pt x="1074" y="265"/>
                </a:lnTo>
                <a:lnTo>
                  <a:pt x="1074" y="253"/>
                </a:lnTo>
                <a:lnTo>
                  <a:pt x="1074" y="253"/>
                </a:lnTo>
                <a:lnTo>
                  <a:pt x="1074" y="243"/>
                </a:lnTo>
                <a:lnTo>
                  <a:pt x="1070" y="231"/>
                </a:lnTo>
                <a:lnTo>
                  <a:pt x="1065" y="221"/>
                </a:lnTo>
                <a:lnTo>
                  <a:pt x="1057" y="212"/>
                </a:lnTo>
                <a:lnTo>
                  <a:pt x="1048" y="205"/>
                </a:lnTo>
                <a:lnTo>
                  <a:pt x="1040" y="200"/>
                </a:lnTo>
                <a:lnTo>
                  <a:pt x="1028" y="197"/>
                </a:lnTo>
                <a:lnTo>
                  <a:pt x="1016" y="195"/>
                </a:lnTo>
                <a:lnTo>
                  <a:pt x="1016" y="195"/>
                </a:lnTo>
                <a:lnTo>
                  <a:pt x="1004" y="197"/>
                </a:lnTo>
                <a:lnTo>
                  <a:pt x="993" y="200"/>
                </a:lnTo>
                <a:lnTo>
                  <a:pt x="983" y="205"/>
                </a:lnTo>
                <a:lnTo>
                  <a:pt x="974" y="212"/>
                </a:lnTo>
                <a:lnTo>
                  <a:pt x="968" y="221"/>
                </a:lnTo>
                <a:lnTo>
                  <a:pt x="962" y="231"/>
                </a:lnTo>
                <a:lnTo>
                  <a:pt x="959" y="243"/>
                </a:lnTo>
                <a:lnTo>
                  <a:pt x="957" y="253"/>
                </a:lnTo>
                <a:lnTo>
                  <a:pt x="957" y="253"/>
                </a:lnTo>
                <a:lnTo>
                  <a:pt x="959" y="265"/>
                </a:lnTo>
                <a:lnTo>
                  <a:pt x="962" y="277"/>
                </a:lnTo>
                <a:lnTo>
                  <a:pt x="968" y="286"/>
                </a:lnTo>
                <a:lnTo>
                  <a:pt x="974" y="296"/>
                </a:lnTo>
                <a:lnTo>
                  <a:pt x="983" y="303"/>
                </a:lnTo>
                <a:lnTo>
                  <a:pt x="993" y="308"/>
                </a:lnTo>
                <a:lnTo>
                  <a:pt x="1004" y="312"/>
                </a:lnTo>
                <a:lnTo>
                  <a:pt x="1016" y="312"/>
                </a:lnTo>
                <a:close/>
                <a:moveTo>
                  <a:pt x="1173" y="226"/>
                </a:moveTo>
                <a:lnTo>
                  <a:pt x="1173" y="226"/>
                </a:lnTo>
                <a:lnTo>
                  <a:pt x="1185" y="224"/>
                </a:lnTo>
                <a:lnTo>
                  <a:pt x="1195" y="221"/>
                </a:lnTo>
                <a:lnTo>
                  <a:pt x="1206" y="216"/>
                </a:lnTo>
                <a:lnTo>
                  <a:pt x="1214" y="209"/>
                </a:lnTo>
                <a:lnTo>
                  <a:pt x="1221" y="200"/>
                </a:lnTo>
                <a:lnTo>
                  <a:pt x="1226" y="190"/>
                </a:lnTo>
                <a:lnTo>
                  <a:pt x="1230" y="180"/>
                </a:lnTo>
                <a:lnTo>
                  <a:pt x="1231" y="168"/>
                </a:lnTo>
                <a:lnTo>
                  <a:pt x="1231" y="168"/>
                </a:lnTo>
                <a:lnTo>
                  <a:pt x="1230" y="156"/>
                </a:lnTo>
                <a:lnTo>
                  <a:pt x="1226" y="145"/>
                </a:lnTo>
                <a:lnTo>
                  <a:pt x="1221" y="135"/>
                </a:lnTo>
                <a:lnTo>
                  <a:pt x="1214" y="127"/>
                </a:lnTo>
                <a:lnTo>
                  <a:pt x="1206" y="120"/>
                </a:lnTo>
                <a:lnTo>
                  <a:pt x="1195" y="115"/>
                </a:lnTo>
                <a:lnTo>
                  <a:pt x="1185" y="111"/>
                </a:lnTo>
                <a:lnTo>
                  <a:pt x="1173" y="109"/>
                </a:lnTo>
                <a:lnTo>
                  <a:pt x="1173" y="109"/>
                </a:lnTo>
                <a:lnTo>
                  <a:pt x="1161" y="111"/>
                </a:lnTo>
                <a:lnTo>
                  <a:pt x="1149" y="115"/>
                </a:lnTo>
                <a:lnTo>
                  <a:pt x="1141" y="120"/>
                </a:lnTo>
                <a:lnTo>
                  <a:pt x="1132" y="127"/>
                </a:lnTo>
                <a:lnTo>
                  <a:pt x="1124" y="135"/>
                </a:lnTo>
                <a:lnTo>
                  <a:pt x="1118" y="145"/>
                </a:lnTo>
                <a:lnTo>
                  <a:pt x="1115" y="156"/>
                </a:lnTo>
                <a:lnTo>
                  <a:pt x="1113" y="168"/>
                </a:lnTo>
                <a:lnTo>
                  <a:pt x="1113" y="168"/>
                </a:lnTo>
                <a:lnTo>
                  <a:pt x="1115" y="180"/>
                </a:lnTo>
                <a:lnTo>
                  <a:pt x="1118" y="190"/>
                </a:lnTo>
                <a:lnTo>
                  <a:pt x="1124" y="200"/>
                </a:lnTo>
                <a:lnTo>
                  <a:pt x="1132" y="209"/>
                </a:lnTo>
                <a:lnTo>
                  <a:pt x="1141" y="216"/>
                </a:lnTo>
                <a:lnTo>
                  <a:pt x="1149" y="221"/>
                </a:lnTo>
                <a:lnTo>
                  <a:pt x="1161" y="224"/>
                </a:lnTo>
                <a:lnTo>
                  <a:pt x="1173" y="226"/>
                </a:lnTo>
                <a:close/>
                <a:moveTo>
                  <a:pt x="1398" y="343"/>
                </a:moveTo>
                <a:lnTo>
                  <a:pt x="1398" y="343"/>
                </a:lnTo>
                <a:lnTo>
                  <a:pt x="1410" y="341"/>
                </a:lnTo>
                <a:lnTo>
                  <a:pt x="1420" y="337"/>
                </a:lnTo>
                <a:lnTo>
                  <a:pt x="1430" y="332"/>
                </a:lnTo>
                <a:lnTo>
                  <a:pt x="1439" y="325"/>
                </a:lnTo>
                <a:lnTo>
                  <a:pt x="1446" y="317"/>
                </a:lnTo>
                <a:lnTo>
                  <a:pt x="1452" y="307"/>
                </a:lnTo>
                <a:lnTo>
                  <a:pt x="1456" y="296"/>
                </a:lnTo>
                <a:lnTo>
                  <a:pt x="1456" y="284"/>
                </a:lnTo>
                <a:lnTo>
                  <a:pt x="1456" y="284"/>
                </a:lnTo>
                <a:lnTo>
                  <a:pt x="1456" y="272"/>
                </a:lnTo>
                <a:lnTo>
                  <a:pt x="1452" y="262"/>
                </a:lnTo>
                <a:lnTo>
                  <a:pt x="1446" y="252"/>
                </a:lnTo>
                <a:lnTo>
                  <a:pt x="1439" y="243"/>
                </a:lnTo>
                <a:lnTo>
                  <a:pt x="1430" y="236"/>
                </a:lnTo>
                <a:lnTo>
                  <a:pt x="1420" y="231"/>
                </a:lnTo>
                <a:lnTo>
                  <a:pt x="1410" y="228"/>
                </a:lnTo>
                <a:lnTo>
                  <a:pt x="1398" y="226"/>
                </a:lnTo>
                <a:lnTo>
                  <a:pt x="1398" y="226"/>
                </a:lnTo>
                <a:lnTo>
                  <a:pt x="1386" y="228"/>
                </a:lnTo>
                <a:lnTo>
                  <a:pt x="1375" y="231"/>
                </a:lnTo>
                <a:lnTo>
                  <a:pt x="1365" y="236"/>
                </a:lnTo>
                <a:lnTo>
                  <a:pt x="1356" y="243"/>
                </a:lnTo>
                <a:lnTo>
                  <a:pt x="1350" y="252"/>
                </a:lnTo>
                <a:lnTo>
                  <a:pt x="1344" y="262"/>
                </a:lnTo>
                <a:lnTo>
                  <a:pt x="1341" y="272"/>
                </a:lnTo>
                <a:lnTo>
                  <a:pt x="1339" y="284"/>
                </a:lnTo>
                <a:lnTo>
                  <a:pt x="1339" y="284"/>
                </a:lnTo>
                <a:lnTo>
                  <a:pt x="1341" y="296"/>
                </a:lnTo>
                <a:lnTo>
                  <a:pt x="1344" y="307"/>
                </a:lnTo>
                <a:lnTo>
                  <a:pt x="1350" y="317"/>
                </a:lnTo>
                <a:lnTo>
                  <a:pt x="1356" y="325"/>
                </a:lnTo>
                <a:lnTo>
                  <a:pt x="1365" y="332"/>
                </a:lnTo>
                <a:lnTo>
                  <a:pt x="1375" y="337"/>
                </a:lnTo>
                <a:lnTo>
                  <a:pt x="1386" y="341"/>
                </a:lnTo>
                <a:lnTo>
                  <a:pt x="1398" y="343"/>
                </a:lnTo>
                <a:close/>
                <a:moveTo>
                  <a:pt x="1173" y="425"/>
                </a:moveTo>
                <a:lnTo>
                  <a:pt x="1173" y="425"/>
                </a:lnTo>
                <a:lnTo>
                  <a:pt x="1175" y="437"/>
                </a:lnTo>
                <a:lnTo>
                  <a:pt x="1178" y="447"/>
                </a:lnTo>
                <a:lnTo>
                  <a:pt x="1183" y="457"/>
                </a:lnTo>
                <a:lnTo>
                  <a:pt x="1190" y="466"/>
                </a:lnTo>
                <a:lnTo>
                  <a:pt x="1199" y="473"/>
                </a:lnTo>
                <a:lnTo>
                  <a:pt x="1209" y="480"/>
                </a:lnTo>
                <a:lnTo>
                  <a:pt x="1221" y="483"/>
                </a:lnTo>
                <a:lnTo>
                  <a:pt x="1233" y="483"/>
                </a:lnTo>
                <a:lnTo>
                  <a:pt x="1233" y="483"/>
                </a:lnTo>
                <a:lnTo>
                  <a:pt x="1243" y="483"/>
                </a:lnTo>
                <a:lnTo>
                  <a:pt x="1255" y="480"/>
                </a:lnTo>
                <a:lnTo>
                  <a:pt x="1266" y="473"/>
                </a:lnTo>
                <a:lnTo>
                  <a:pt x="1274" y="466"/>
                </a:lnTo>
                <a:lnTo>
                  <a:pt x="1281" y="457"/>
                </a:lnTo>
                <a:lnTo>
                  <a:pt x="1286" y="447"/>
                </a:lnTo>
                <a:lnTo>
                  <a:pt x="1290" y="437"/>
                </a:lnTo>
                <a:lnTo>
                  <a:pt x="1291" y="425"/>
                </a:lnTo>
                <a:lnTo>
                  <a:pt x="1291" y="425"/>
                </a:lnTo>
                <a:lnTo>
                  <a:pt x="1290" y="413"/>
                </a:lnTo>
                <a:lnTo>
                  <a:pt x="1286" y="403"/>
                </a:lnTo>
                <a:lnTo>
                  <a:pt x="1281" y="392"/>
                </a:lnTo>
                <a:lnTo>
                  <a:pt x="1274" y="384"/>
                </a:lnTo>
                <a:lnTo>
                  <a:pt x="1266" y="377"/>
                </a:lnTo>
                <a:lnTo>
                  <a:pt x="1255" y="372"/>
                </a:lnTo>
                <a:lnTo>
                  <a:pt x="1243" y="368"/>
                </a:lnTo>
                <a:lnTo>
                  <a:pt x="1233" y="367"/>
                </a:lnTo>
                <a:lnTo>
                  <a:pt x="1233" y="367"/>
                </a:lnTo>
                <a:lnTo>
                  <a:pt x="1221" y="368"/>
                </a:lnTo>
                <a:lnTo>
                  <a:pt x="1209" y="372"/>
                </a:lnTo>
                <a:lnTo>
                  <a:pt x="1199" y="377"/>
                </a:lnTo>
                <a:lnTo>
                  <a:pt x="1190" y="384"/>
                </a:lnTo>
                <a:lnTo>
                  <a:pt x="1183" y="392"/>
                </a:lnTo>
                <a:lnTo>
                  <a:pt x="1178" y="403"/>
                </a:lnTo>
                <a:lnTo>
                  <a:pt x="1175" y="413"/>
                </a:lnTo>
                <a:lnTo>
                  <a:pt x="1173" y="425"/>
                </a:lnTo>
                <a:close/>
                <a:moveTo>
                  <a:pt x="291" y="483"/>
                </a:moveTo>
                <a:lnTo>
                  <a:pt x="291" y="483"/>
                </a:lnTo>
                <a:lnTo>
                  <a:pt x="303" y="483"/>
                </a:lnTo>
                <a:lnTo>
                  <a:pt x="313" y="480"/>
                </a:lnTo>
                <a:lnTo>
                  <a:pt x="323" y="473"/>
                </a:lnTo>
                <a:lnTo>
                  <a:pt x="332" y="466"/>
                </a:lnTo>
                <a:lnTo>
                  <a:pt x="339" y="457"/>
                </a:lnTo>
                <a:lnTo>
                  <a:pt x="346" y="447"/>
                </a:lnTo>
                <a:lnTo>
                  <a:pt x="349" y="437"/>
                </a:lnTo>
                <a:lnTo>
                  <a:pt x="349" y="425"/>
                </a:lnTo>
                <a:lnTo>
                  <a:pt x="349" y="425"/>
                </a:lnTo>
                <a:lnTo>
                  <a:pt x="349" y="413"/>
                </a:lnTo>
                <a:lnTo>
                  <a:pt x="346" y="403"/>
                </a:lnTo>
                <a:lnTo>
                  <a:pt x="339" y="392"/>
                </a:lnTo>
                <a:lnTo>
                  <a:pt x="332" y="384"/>
                </a:lnTo>
                <a:lnTo>
                  <a:pt x="323" y="377"/>
                </a:lnTo>
                <a:lnTo>
                  <a:pt x="313" y="372"/>
                </a:lnTo>
                <a:lnTo>
                  <a:pt x="303" y="368"/>
                </a:lnTo>
                <a:lnTo>
                  <a:pt x="291" y="367"/>
                </a:lnTo>
                <a:lnTo>
                  <a:pt x="291" y="367"/>
                </a:lnTo>
                <a:lnTo>
                  <a:pt x="279" y="368"/>
                </a:lnTo>
                <a:lnTo>
                  <a:pt x="269" y="372"/>
                </a:lnTo>
                <a:lnTo>
                  <a:pt x="258" y="377"/>
                </a:lnTo>
                <a:lnTo>
                  <a:pt x="250" y="384"/>
                </a:lnTo>
                <a:lnTo>
                  <a:pt x="243" y="392"/>
                </a:lnTo>
                <a:lnTo>
                  <a:pt x="238" y="403"/>
                </a:lnTo>
                <a:lnTo>
                  <a:pt x="234" y="413"/>
                </a:lnTo>
                <a:lnTo>
                  <a:pt x="233" y="425"/>
                </a:lnTo>
                <a:lnTo>
                  <a:pt x="233" y="425"/>
                </a:lnTo>
                <a:lnTo>
                  <a:pt x="234" y="437"/>
                </a:lnTo>
                <a:lnTo>
                  <a:pt x="238" y="447"/>
                </a:lnTo>
                <a:lnTo>
                  <a:pt x="243" y="457"/>
                </a:lnTo>
                <a:lnTo>
                  <a:pt x="250" y="466"/>
                </a:lnTo>
                <a:lnTo>
                  <a:pt x="258" y="473"/>
                </a:lnTo>
                <a:lnTo>
                  <a:pt x="269" y="480"/>
                </a:lnTo>
                <a:lnTo>
                  <a:pt x="279" y="483"/>
                </a:lnTo>
                <a:lnTo>
                  <a:pt x="291" y="483"/>
                </a:lnTo>
                <a:close/>
              </a:path>
            </a:pathLst>
          </a:custGeom>
          <a:solidFill>
            <a:srgbClr val="FB3449"/>
          </a:solidFill>
          <a:ln>
            <a:noFill/>
          </a:ln>
          <a:extLst/>
        </p:spPr>
        <p:txBody>
          <a:bodyPr vert="horz" wrap="square" lIns="91440" tIns="45720" rIns="91440" bIns="45720" numCol="1" anchor="t" anchorCtr="0" compatLnSpc="1">
            <a:prstTxWarp prst="textNoShape">
              <a:avLst/>
            </a:prstTxWarp>
          </a:bodyPr>
          <a:lstStyle/>
          <a:p>
            <a:pPr defTabSz="961813"/>
            <a:endParaRPr lang="en-GB" sz="1900">
              <a:solidFill>
                <a:srgbClr val="00BFD6"/>
              </a:solidFill>
            </a:endParaRPr>
          </a:p>
        </p:txBody>
      </p:sp>
    </p:spTree>
    <p:extLst>
      <p:ext uri="{BB962C8B-B14F-4D97-AF65-F5344CB8AC3E}">
        <p14:creationId xmlns:p14="http://schemas.microsoft.com/office/powerpoint/2010/main" val="4206371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mp; Content Op 9">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2033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1" name="Text Placeholder 3"/>
          <p:cNvSpPr>
            <a:spLocks noGrp="1"/>
          </p:cNvSpPr>
          <p:nvPr>
            <p:ph type="body" sz="half" idx="2" hasCustomPrompt="1"/>
          </p:nvPr>
        </p:nvSpPr>
        <p:spPr>
          <a:xfrm>
            <a:off x="5864253" y="6992186"/>
            <a:ext cx="7152151" cy="243656"/>
          </a:xfrm>
          <a:prstGeom prst="rect">
            <a:avLst/>
          </a:prstGeom>
        </p:spPr>
        <p:txBody>
          <a:bodyPr wrap="square" anchor="b" anchorCtr="0">
            <a:spAutoFit/>
          </a:bodyPr>
          <a:lstStyle>
            <a:lvl1pPr marL="0" indent="0" algn="r">
              <a:buNone/>
              <a:defRPr sz="700" b="1">
                <a:solidFill>
                  <a:schemeClr val="bg1"/>
                </a:solidFill>
              </a:defRPr>
            </a:lvl1pPr>
            <a:lvl2pPr marL="457185" indent="0">
              <a:buNone/>
              <a:defRPr sz="1400"/>
            </a:lvl2pPr>
            <a:lvl3pPr marL="914371" indent="0">
              <a:buNone/>
              <a:defRPr sz="1200"/>
            </a:lvl3pPr>
            <a:lvl4pPr marL="1371555" indent="0">
              <a:buNone/>
              <a:defRPr sz="1000"/>
            </a:lvl4pPr>
            <a:lvl5pPr marL="1828741" indent="0">
              <a:buNone/>
              <a:defRPr sz="1000"/>
            </a:lvl5pPr>
            <a:lvl6pPr marL="2285926" indent="0">
              <a:buNone/>
              <a:defRPr sz="1000"/>
            </a:lvl6pPr>
            <a:lvl7pPr marL="2743110" indent="0">
              <a:buNone/>
              <a:defRPr sz="1000"/>
            </a:lvl7pPr>
            <a:lvl8pPr marL="3200296" indent="0">
              <a:buNone/>
              <a:defRPr sz="1000"/>
            </a:lvl8pPr>
            <a:lvl9pPr marL="3657481" indent="0">
              <a:buNone/>
              <a:defRPr sz="1000"/>
            </a:lvl9pPr>
          </a:lstStyle>
          <a:p>
            <a:pPr lvl="0"/>
            <a:r>
              <a:rPr lang="en-GB" dirty="0"/>
              <a:t>Source: Insert Source here</a:t>
            </a:r>
          </a:p>
        </p:txBody>
      </p:sp>
      <p:sp>
        <p:nvSpPr>
          <p:cNvPr id="28" name="Text Placeholder 13"/>
          <p:cNvSpPr>
            <a:spLocks noGrp="1"/>
          </p:cNvSpPr>
          <p:nvPr>
            <p:ph type="body" sz="quarter" idx="18" hasCustomPrompt="1"/>
          </p:nvPr>
        </p:nvSpPr>
        <p:spPr bwMode="gray">
          <a:xfrm>
            <a:off x="363209" y="812746"/>
            <a:ext cx="12423740" cy="436608"/>
          </a:xfrm>
          <a:prstGeom prst="rect">
            <a:avLst/>
          </a:prstGeom>
        </p:spPr>
        <p:txBody>
          <a:bodyPr lIns="0"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34" name="Text Placeholder 2"/>
          <p:cNvSpPr>
            <a:spLocks noGrp="1"/>
          </p:cNvSpPr>
          <p:nvPr>
            <p:ph type="body" idx="19" hasCustomPrompt="1"/>
          </p:nvPr>
        </p:nvSpPr>
        <p:spPr>
          <a:xfrm>
            <a:off x="1112688" y="5784361"/>
            <a:ext cx="5269679" cy="254503"/>
          </a:xfrm>
          <a:prstGeom prst="rect">
            <a:avLst/>
          </a:prstGeom>
        </p:spPr>
        <p:txBody>
          <a:bodyPr wrap="square" anchor="t" anchorCtr="0">
            <a:spAutoFit/>
          </a:bodyPr>
          <a:lstStyle>
            <a:lvl1pPr marL="0" indent="0" algn="ctr">
              <a:lnSpc>
                <a:spcPts val="2000"/>
              </a:lnSpc>
              <a:buNone/>
              <a:defRPr sz="20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a:t>Text</a:t>
            </a:r>
            <a:endParaRPr lang="en-GB" dirty="0"/>
          </a:p>
        </p:txBody>
      </p:sp>
      <p:sp>
        <p:nvSpPr>
          <p:cNvPr id="15" name="Text Placeholder 2"/>
          <p:cNvSpPr>
            <a:spLocks noGrp="1"/>
          </p:cNvSpPr>
          <p:nvPr>
            <p:ph type="body" idx="20" hasCustomPrompt="1"/>
          </p:nvPr>
        </p:nvSpPr>
        <p:spPr>
          <a:xfrm>
            <a:off x="7073023" y="5784361"/>
            <a:ext cx="5269679" cy="254503"/>
          </a:xfrm>
          <a:prstGeom prst="rect">
            <a:avLst/>
          </a:prstGeom>
        </p:spPr>
        <p:txBody>
          <a:bodyPr wrap="square" anchor="t" anchorCtr="0">
            <a:spAutoFit/>
          </a:bodyPr>
          <a:lstStyle>
            <a:lvl1pPr marL="0" indent="0" algn="ctr">
              <a:lnSpc>
                <a:spcPts val="2000"/>
              </a:lnSpc>
              <a:buNone/>
              <a:defRPr sz="20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Tree>
    <p:extLst>
      <p:ext uri="{BB962C8B-B14F-4D97-AF65-F5344CB8AC3E}">
        <p14:creationId xmlns:p14="http://schemas.microsoft.com/office/powerpoint/2010/main" val="2887320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extLst mod="1">
    <p:ext uri="{DCECCB84-F9BA-43D5-87BE-67443E8EF086}">
      <p15:sldGuideLst xmlns:p15="http://schemas.microsoft.com/office/powerpoint/2012/main">
        <p15:guide id="1" orient="horz" pos="1064">
          <p15:clr>
            <a:srgbClr val="FBAE40"/>
          </p15:clr>
        </p15:guide>
        <p15:guide id="2" pos="3175">
          <p15:clr>
            <a:srgbClr val="FBAE40"/>
          </p15:clr>
        </p15:guide>
        <p15:guide id="3" pos="1768">
          <p15:clr>
            <a:srgbClr val="FBAE40"/>
          </p15:clr>
        </p15:guide>
        <p15:guide id="4" pos="4581">
          <p15:clr>
            <a:srgbClr val="FBAE40"/>
          </p15:clr>
        </p15:guide>
        <p15:guide id="5" orient="horz" pos="2223">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amp; Content Op 12">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2136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1" name="Text Placeholder 3"/>
          <p:cNvSpPr>
            <a:spLocks noGrp="1"/>
          </p:cNvSpPr>
          <p:nvPr>
            <p:ph type="body" sz="half" idx="2" hasCustomPrompt="1"/>
          </p:nvPr>
        </p:nvSpPr>
        <p:spPr>
          <a:xfrm>
            <a:off x="5864253" y="6992186"/>
            <a:ext cx="7152151" cy="243656"/>
          </a:xfrm>
          <a:prstGeom prst="rect">
            <a:avLst/>
          </a:prstGeom>
        </p:spPr>
        <p:txBody>
          <a:bodyPr wrap="square" anchor="b" anchorCtr="0">
            <a:spAutoFit/>
          </a:bodyPr>
          <a:lstStyle>
            <a:lvl1pPr marL="0" indent="0" algn="r">
              <a:buNone/>
              <a:defRPr sz="700" b="1">
                <a:solidFill>
                  <a:schemeClr val="bg1"/>
                </a:solidFill>
              </a:defRPr>
            </a:lvl1pPr>
            <a:lvl2pPr marL="457185" indent="0">
              <a:buNone/>
              <a:defRPr sz="1400"/>
            </a:lvl2pPr>
            <a:lvl3pPr marL="914371" indent="0">
              <a:buNone/>
              <a:defRPr sz="1200"/>
            </a:lvl3pPr>
            <a:lvl4pPr marL="1371555" indent="0">
              <a:buNone/>
              <a:defRPr sz="1000"/>
            </a:lvl4pPr>
            <a:lvl5pPr marL="1828741" indent="0">
              <a:buNone/>
              <a:defRPr sz="1000"/>
            </a:lvl5pPr>
            <a:lvl6pPr marL="2285926" indent="0">
              <a:buNone/>
              <a:defRPr sz="1000"/>
            </a:lvl6pPr>
            <a:lvl7pPr marL="2743110" indent="0">
              <a:buNone/>
              <a:defRPr sz="1000"/>
            </a:lvl7pPr>
            <a:lvl8pPr marL="3200296" indent="0">
              <a:buNone/>
              <a:defRPr sz="1000"/>
            </a:lvl8pPr>
            <a:lvl9pPr marL="3657481" indent="0">
              <a:buNone/>
              <a:defRPr sz="1000"/>
            </a:lvl9pPr>
          </a:lstStyle>
          <a:p>
            <a:pPr lvl="0"/>
            <a:r>
              <a:rPr lang="en-GB" dirty="0"/>
              <a:t>Source: Insert Source here</a:t>
            </a:r>
          </a:p>
        </p:txBody>
      </p:sp>
      <p:sp>
        <p:nvSpPr>
          <p:cNvPr id="18" name="Text Placeholder 13"/>
          <p:cNvSpPr>
            <a:spLocks noGrp="1"/>
          </p:cNvSpPr>
          <p:nvPr>
            <p:ph type="body" sz="quarter" idx="14" hasCustomPrompt="1"/>
          </p:nvPr>
        </p:nvSpPr>
        <p:spPr bwMode="gray">
          <a:xfrm>
            <a:off x="363209" y="812746"/>
            <a:ext cx="12423740" cy="436608"/>
          </a:xfrm>
          <a:prstGeom prst="rect">
            <a:avLst/>
          </a:prstGeom>
        </p:spPr>
        <p:txBody>
          <a:bodyPr lIns="0"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38" name="Text Placeholder 2"/>
          <p:cNvSpPr>
            <a:spLocks noGrp="1"/>
          </p:cNvSpPr>
          <p:nvPr>
            <p:ph type="body" idx="17" hasCustomPrompt="1"/>
          </p:nvPr>
        </p:nvSpPr>
        <p:spPr>
          <a:xfrm>
            <a:off x="3125431" y="2604729"/>
            <a:ext cx="2898353" cy="495108"/>
          </a:xfrm>
          <a:prstGeom prst="rect">
            <a:avLst/>
          </a:prstGeom>
          <a:solidFill>
            <a:srgbClr val="FFFFFF"/>
          </a:solidFill>
        </p:spPr>
        <p:txBody>
          <a:bodyPr wrap="square" tIns="108000" bIns="108000" anchor="ctr" anchorCtr="0">
            <a:spAutoFit/>
          </a:bodyPr>
          <a:lstStyle>
            <a:lvl1pPr marL="0" indent="0" algn="ctr">
              <a:lnSpc>
                <a:spcPct val="100000"/>
              </a:lnSpc>
              <a:buNone/>
              <a:defRPr sz="1800" b="1" cap="all" baseline="0">
                <a:solidFill>
                  <a:schemeClr val="accent5"/>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40" name="Text Placeholder 2"/>
          <p:cNvSpPr>
            <a:spLocks noGrp="1"/>
          </p:cNvSpPr>
          <p:nvPr>
            <p:ph type="body" idx="18" hasCustomPrompt="1"/>
          </p:nvPr>
        </p:nvSpPr>
        <p:spPr>
          <a:xfrm>
            <a:off x="5280651" y="1626975"/>
            <a:ext cx="2898353" cy="523220"/>
          </a:xfrm>
          <a:prstGeom prst="rect">
            <a:avLst/>
          </a:prstGeom>
          <a:noFill/>
        </p:spPr>
        <p:txBody>
          <a:bodyPr wrap="square" tIns="0" bIns="0" anchor="t" anchorCtr="0">
            <a:spAutoFit/>
          </a:bodyPr>
          <a:lstStyle>
            <a:lvl1pPr marL="0" indent="0" algn="ctr">
              <a:lnSpc>
                <a:spcPct val="100000"/>
              </a:lnSpc>
              <a:buNone/>
              <a:defRPr sz="3400" b="1" cap="all" baseline="0">
                <a:solidFill>
                  <a:schemeClr val="tx1"/>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43" name="Text Placeholder 2"/>
          <p:cNvSpPr>
            <a:spLocks noGrp="1"/>
          </p:cNvSpPr>
          <p:nvPr>
            <p:ph type="body" idx="19" hasCustomPrompt="1"/>
          </p:nvPr>
        </p:nvSpPr>
        <p:spPr>
          <a:xfrm>
            <a:off x="3125431" y="4237720"/>
            <a:ext cx="2898353" cy="326320"/>
          </a:xfrm>
          <a:prstGeom prst="rect">
            <a:avLst/>
          </a:prstGeom>
          <a:noFill/>
        </p:spPr>
        <p:txBody>
          <a:bodyPr wrap="square" tIns="36000" bIns="36000" anchor="t" anchorCtr="0">
            <a:spAutoFit/>
          </a:bodyPr>
          <a:lstStyle>
            <a:lvl1pPr marL="0" indent="0" algn="ctr">
              <a:lnSpc>
                <a:spcPct val="100000"/>
              </a:lnSpc>
              <a:buNone/>
              <a:defRPr sz="16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44" name="Text Placeholder 2"/>
          <p:cNvSpPr>
            <a:spLocks noGrp="1"/>
          </p:cNvSpPr>
          <p:nvPr>
            <p:ph type="body" idx="20" hasCustomPrompt="1"/>
          </p:nvPr>
        </p:nvSpPr>
        <p:spPr>
          <a:xfrm>
            <a:off x="3125431" y="4377953"/>
            <a:ext cx="2898353" cy="1088367"/>
          </a:xfrm>
          <a:prstGeom prst="rect">
            <a:avLst/>
          </a:prstGeom>
          <a:noFill/>
        </p:spPr>
        <p:txBody>
          <a:bodyPr wrap="square" tIns="36000" bIns="36000" anchor="t" anchorCtr="0">
            <a:spAutoFit/>
          </a:bodyPr>
          <a:lstStyle>
            <a:lvl1pPr marL="0" indent="0" algn="ctr">
              <a:lnSpc>
                <a:spcPct val="100000"/>
              </a:lnSpc>
              <a:buNone/>
              <a:defRPr sz="66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14" name="Text Placeholder 2"/>
          <p:cNvSpPr>
            <a:spLocks noGrp="1"/>
          </p:cNvSpPr>
          <p:nvPr>
            <p:ph type="body" idx="21" hasCustomPrompt="1"/>
          </p:nvPr>
        </p:nvSpPr>
        <p:spPr>
          <a:xfrm>
            <a:off x="7348961" y="2604729"/>
            <a:ext cx="2898353" cy="495108"/>
          </a:xfrm>
          <a:prstGeom prst="rect">
            <a:avLst/>
          </a:prstGeom>
          <a:solidFill>
            <a:srgbClr val="FFFFFF"/>
          </a:solidFill>
        </p:spPr>
        <p:txBody>
          <a:bodyPr wrap="square" tIns="108000" bIns="108000" anchor="ctr" anchorCtr="0">
            <a:spAutoFit/>
          </a:bodyPr>
          <a:lstStyle>
            <a:lvl1pPr marL="0" indent="0" algn="ctr">
              <a:lnSpc>
                <a:spcPct val="100000"/>
              </a:lnSpc>
              <a:buNone/>
              <a:defRPr sz="1800" b="1" cap="all" baseline="0">
                <a:solidFill>
                  <a:schemeClr val="accent5"/>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15" name="Text Placeholder 2"/>
          <p:cNvSpPr>
            <a:spLocks noGrp="1"/>
          </p:cNvSpPr>
          <p:nvPr>
            <p:ph type="body" idx="22" hasCustomPrompt="1"/>
          </p:nvPr>
        </p:nvSpPr>
        <p:spPr>
          <a:xfrm>
            <a:off x="7348961" y="4237720"/>
            <a:ext cx="2898353" cy="326320"/>
          </a:xfrm>
          <a:prstGeom prst="rect">
            <a:avLst/>
          </a:prstGeom>
          <a:noFill/>
        </p:spPr>
        <p:txBody>
          <a:bodyPr wrap="square" tIns="36000" bIns="36000" anchor="t" anchorCtr="0">
            <a:spAutoFit/>
          </a:bodyPr>
          <a:lstStyle>
            <a:lvl1pPr marL="0" indent="0" algn="ctr">
              <a:lnSpc>
                <a:spcPct val="100000"/>
              </a:lnSpc>
              <a:buNone/>
              <a:defRPr sz="16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16" name="Text Placeholder 2"/>
          <p:cNvSpPr>
            <a:spLocks noGrp="1"/>
          </p:cNvSpPr>
          <p:nvPr>
            <p:ph type="body" idx="23" hasCustomPrompt="1"/>
          </p:nvPr>
        </p:nvSpPr>
        <p:spPr>
          <a:xfrm>
            <a:off x="7348961" y="4377953"/>
            <a:ext cx="2898353" cy="1088367"/>
          </a:xfrm>
          <a:prstGeom prst="rect">
            <a:avLst/>
          </a:prstGeom>
          <a:noFill/>
        </p:spPr>
        <p:txBody>
          <a:bodyPr wrap="square" tIns="36000" bIns="36000" anchor="t" anchorCtr="0">
            <a:spAutoFit/>
          </a:bodyPr>
          <a:lstStyle>
            <a:lvl1pPr marL="0" indent="0" algn="ctr">
              <a:lnSpc>
                <a:spcPct val="100000"/>
              </a:lnSpc>
              <a:buNone/>
              <a:defRPr sz="66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Tree>
    <p:extLst>
      <p:ext uri="{BB962C8B-B14F-4D97-AF65-F5344CB8AC3E}">
        <p14:creationId xmlns:p14="http://schemas.microsoft.com/office/powerpoint/2010/main" val="309039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extLst mod="1">
    <p:ext uri="{DCECCB84-F9BA-43D5-87BE-67443E8EF086}">
      <p15:sldGuideLst xmlns:p15="http://schemas.microsoft.com/office/powerpoint/2012/main">
        <p15:guide id="1" orient="horz" pos="1071">
          <p15:clr>
            <a:srgbClr val="FBAE40"/>
          </p15:clr>
        </p15:guide>
        <p15:guide id="2" pos="3175">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2384"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0"/>
            <a:ext cx="214713"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descr="dcm_logo_from_powerpoint.pn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gray">
          <a:xfrm>
            <a:off x="381060" y="6917319"/>
            <a:ext cx="1604500" cy="421605"/>
          </a:xfrm>
          <a:prstGeom prst="rect">
            <a:avLst/>
          </a:prstGeom>
        </p:spPr>
      </p:pic>
    </p:spTree>
    <p:extLst>
      <p:ext uri="{BB962C8B-B14F-4D97-AF65-F5344CB8AC3E}">
        <p14:creationId xmlns:p14="http://schemas.microsoft.com/office/powerpoint/2010/main" val="242847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2340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7" name="Text Placeholder 13"/>
          <p:cNvSpPr>
            <a:spLocks noGrp="1"/>
          </p:cNvSpPr>
          <p:nvPr>
            <p:ph type="body" sz="quarter" idx="16" hasCustomPrompt="1"/>
          </p:nvPr>
        </p:nvSpPr>
        <p:spPr bwMode="gray">
          <a:xfrm>
            <a:off x="376757" y="1372457"/>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7" y="15849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2544" y="1895311"/>
            <a:ext cx="4148198" cy="4354677"/>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1"/>
              </a:lnSpc>
              <a:defRPr/>
            </a:lvl3pPr>
            <a:lvl4pPr>
              <a:lnSpc>
                <a:spcPts val="1501"/>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13"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Picture Placeholder 13"/>
          <p:cNvSpPr>
            <a:spLocks noGrp="1"/>
          </p:cNvSpPr>
          <p:nvPr>
            <p:ph type="pic" sz="quarter" idx="18" hasCustomPrompt="1"/>
          </p:nvPr>
        </p:nvSpPr>
        <p:spPr bwMode="gray">
          <a:xfrm>
            <a:off x="4670103" y="1395413"/>
            <a:ext cx="8406608" cy="4854576"/>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2903413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853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2443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7"/>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6"/>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7"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7" name="Text Placeholder 13"/>
          <p:cNvSpPr>
            <a:spLocks noGrp="1"/>
          </p:cNvSpPr>
          <p:nvPr>
            <p:ph type="body" sz="quarter" idx="16" hasCustomPrompt="1"/>
          </p:nvPr>
        </p:nvSpPr>
        <p:spPr bwMode="gray">
          <a:xfrm>
            <a:off x="363209"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4" cy="102612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1"/>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39"/>
            <a:ext cx="4169764" cy="105412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1"/>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3" y="2458714"/>
            <a:ext cx="4128151" cy="1035374"/>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1"/>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7" y="3559767"/>
            <a:ext cx="4113557" cy="10423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1"/>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3539775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648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1"/>
            <a:ext cx="8426275" cy="4210169"/>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4150984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750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1"/>
            <a:ext cx="8426275"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056207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1"/>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852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5"/>
            <a:ext cx="12507236" cy="5405438"/>
          </a:xfr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2"/>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4"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3" y="2512932"/>
            <a:ext cx="8402590" cy="3106574"/>
          </a:xfrm>
          <a:ln w="0" cap="flat" cmpd="sng" algn="ctr">
            <a:noFill/>
            <a:prstDash val="solid"/>
            <a:round/>
            <a:headEnd type="none" w="med" len="med"/>
            <a:tailEnd type="none" w="med" len="med"/>
          </a:ln>
        </p:spPr>
        <p:txBody>
          <a:bodyPr anchor="ctr" anchorCtr="1"/>
          <a:lstStyle>
            <a:lvl1pPr algn="ctr">
              <a:lnSpc>
                <a:spcPts val="2000"/>
              </a:lnSpc>
              <a:buNone/>
              <a:defRPr sz="1799"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75706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9552"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2" y="1372457"/>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2" y="157733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8" y="1902928"/>
            <a:ext cx="5235066"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3" y="1902928"/>
            <a:ext cx="5232045"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84235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057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8550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160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593743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2624"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7"/>
            <a:ext cx="12413343" cy="409568"/>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5"/>
            <a:ext cx="5238453" cy="3788813"/>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7"/>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3" y="2468630"/>
            <a:ext cx="5236703" cy="3781359"/>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235376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3648"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7"/>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9"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9"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8"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8"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6"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6"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9" y="2459740"/>
            <a:ext cx="4124127"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634076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467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7"/>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6"/>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10"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10"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7" y="2467962"/>
            <a:ext cx="4169764" cy="1026126"/>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1" y="3548040"/>
            <a:ext cx="4169764" cy="1054123"/>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3" y="2458714"/>
            <a:ext cx="4128151" cy="1035374"/>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7" y="3559767"/>
            <a:ext cx="4113557" cy="1042396"/>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7214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404920"/>
            <a:ext cx="10555363" cy="4291030"/>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569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3" y="2467962"/>
            <a:ext cx="4162147"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8" y="3548040"/>
            <a:ext cx="415942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4"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4"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5001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672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p:spPr>
        <p:txBody>
          <a:bodyPr/>
          <a:lstStyle>
            <a:lvl1pPr algn="ctr">
              <a:lnSpc>
                <a:spcPts val="2000"/>
              </a:lnSpc>
              <a:defRPr sz="1799" baseline="0">
                <a:solidFill>
                  <a:schemeClr val="bg2"/>
                </a:solidFill>
              </a:defRPr>
            </a:lvl1pPr>
            <a:lvl2pPr algn="ctr">
              <a:lnSpc>
                <a:spcPts val="2000"/>
              </a:lnSpc>
              <a:defRPr sz="1799" b="0">
                <a:solidFill>
                  <a:schemeClr val="bg1"/>
                </a:solidFill>
              </a:defRPr>
            </a:lvl2pPr>
            <a:lvl3pPr algn="ctr">
              <a:lnSpc>
                <a:spcPts val="1499"/>
              </a:lnSpc>
              <a:defRPr>
                <a:solidFill>
                  <a:schemeClr val="bg2"/>
                </a:solidFill>
              </a:defRPr>
            </a:lvl3pPr>
            <a:lvl4pPr algn="ctr">
              <a:lnSpc>
                <a:spcPts val="1499"/>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4" y="3557877"/>
            <a:ext cx="3088537" cy="1003948"/>
          </a:xfrm>
        </p:spPr>
        <p:txBody>
          <a:bodyPr/>
          <a:lstStyle>
            <a:lvl1pPr algn="ctr">
              <a:lnSpc>
                <a:spcPts val="2000"/>
              </a:lnSpc>
              <a:defRPr sz="1799" baseline="0">
                <a:solidFill>
                  <a:schemeClr val="bg2"/>
                </a:solidFill>
              </a:defRPr>
            </a:lvl1pPr>
            <a:lvl2pPr algn="ctr">
              <a:lnSpc>
                <a:spcPts val="2000"/>
              </a:lnSpc>
              <a:defRPr sz="1799" b="0">
                <a:solidFill>
                  <a:schemeClr val="bg1"/>
                </a:solidFill>
              </a:defRPr>
            </a:lvl2pPr>
            <a:lvl3pPr algn="ctr">
              <a:lnSpc>
                <a:spcPts val="1499"/>
              </a:lnSpc>
              <a:defRPr>
                <a:solidFill>
                  <a:schemeClr val="bg2"/>
                </a:solidFill>
              </a:defRPr>
            </a:lvl3pPr>
            <a:lvl4pPr algn="ctr">
              <a:lnSpc>
                <a:spcPts val="1499"/>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p:spPr>
        <p:txBody>
          <a:bodyPr/>
          <a:lstStyle>
            <a:lvl1pPr algn="ctr">
              <a:lnSpc>
                <a:spcPts val="2000"/>
              </a:lnSpc>
              <a:defRPr sz="1799" baseline="0">
                <a:solidFill>
                  <a:schemeClr val="bg2"/>
                </a:solidFill>
              </a:defRPr>
            </a:lvl1pPr>
            <a:lvl2pPr algn="ctr">
              <a:lnSpc>
                <a:spcPts val="2000"/>
              </a:lnSpc>
              <a:defRPr sz="1799" b="0">
                <a:solidFill>
                  <a:schemeClr val="bg1"/>
                </a:solidFill>
              </a:defRPr>
            </a:lvl2pPr>
            <a:lvl3pPr algn="ctr">
              <a:lnSpc>
                <a:spcPts val="1499"/>
              </a:lnSpc>
              <a:defRPr>
                <a:solidFill>
                  <a:schemeClr val="bg2"/>
                </a:solidFill>
              </a:defRPr>
            </a:lvl3pPr>
            <a:lvl4pPr algn="ctr">
              <a:lnSpc>
                <a:spcPts val="1499"/>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p:spPr>
        <p:txBody>
          <a:bodyPr/>
          <a:lstStyle>
            <a:lvl1pPr algn="ctr">
              <a:lnSpc>
                <a:spcPts val="2000"/>
              </a:lnSpc>
              <a:defRPr sz="1799" baseline="0">
                <a:solidFill>
                  <a:schemeClr val="bg2"/>
                </a:solidFill>
              </a:defRPr>
            </a:lvl1pPr>
            <a:lvl2pPr algn="ctr">
              <a:lnSpc>
                <a:spcPts val="2000"/>
              </a:lnSpc>
              <a:defRPr sz="1799" b="0">
                <a:solidFill>
                  <a:schemeClr val="bg1"/>
                </a:solidFill>
              </a:defRPr>
            </a:lvl2pPr>
            <a:lvl3pPr algn="ctr">
              <a:lnSpc>
                <a:spcPts val="1499"/>
              </a:lnSpc>
              <a:defRPr>
                <a:solidFill>
                  <a:schemeClr val="bg2"/>
                </a:solidFill>
              </a:defRPr>
            </a:lvl3pPr>
            <a:lvl4pPr algn="ctr">
              <a:lnSpc>
                <a:spcPts val="1499"/>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5" y="135794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5"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7"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1"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7"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503718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774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7"/>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4" y="3011509"/>
            <a:ext cx="4152135" cy="1029659"/>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6" y="5207562"/>
            <a:ext cx="4121798" cy="1003948"/>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1" y="3006084"/>
            <a:ext cx="4161382" cy="1029659"/>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1" y="5209764"/>
            <a:ext cx="4164912" cy="1003948"/>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5707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876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8"/>
            <a:ext cx="3081873"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7"/>
            <a:ext cx="308853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4" y="3548348"/>
            <a:ext cx="3097102"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6"/>
            <a:ext cx="308894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4"/>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60116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979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6" y="3005158"/>
            <a:ext cx="4158063" cy="1003948"/>
          </a:xfrm>
        </p:spPr>
        <p:txBody>
          <a:bodyPr/>
          <a:lstStyle>
            <a:lvl1pPr>
              <a:lnSpc>
                <a:spcPts val="2000"/>
              </a:lnSpc>
              <a:defRPr sz="1799" baseline="0">
                <a:solidFill>
                  <a:schemeClr val="accent3"/>
                </a:solidFill>
              </a:defRPr>
            </a:lvl1pPr>
            <a:lvl2pPr>
              <a:lnSpc>
                <a:spcPts val="2000"/>
              </a:lnSpc>
              <a:defRPr sz="1799" b="0">
                <a:solidFill>
                  <a:schemeClr val="bg1"/>
                </a:solidFill>
              </a:defRPr>
            </a:lvl2pPr>
            <a:lvl3pPr>
              <a:lnSpc>
                <a:spcPts val="1499"/>
              </a:lnSpc>
              <a:defRPr>
                <a:solidFill>
                  <a:schemeClr val="accent3"/>
                </a:solidFill>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2" y="5220262"/>
            <a:ext cx="4155337" cy="1003948"/>
          </a:xfrm>
        </p:spPr>
        <p:txBody>
          <a:bodyPr/>
          <a:lstStyle>
            <a:lvl1pPr>
              <a:lnSpc>
                <a:spcPts val="2000"/>
              </a:lnSpc>
              <a:defRPr sz="1799" baseline="0">
                <a:solidFill>
                  <a:schemeClr val="accent3"/>
                </a:solidFill>
              </a:defRPr>
            </a:lvl1pPr>
            <a:lvl2pPr>
              <a:lnSpc>
                <a:spcPts val="2000"/>
              </a:lnSpc>
              <a:defRPr sz="1799" b="0">
                <a:solidFill>
                  <a:schemeClr val="bg1"/>
                </a:solidFill>
              </a:defRPr>
            </a:lvl2pPr>
            <a:lvl3pPr>
              <a:lnSpc>
                <a:spcPts val="1499"/>
              </a:lnSpc>
              <a:defRPr>
                <a:solidFill>
                  <a:schemeClr val="accent3"/>
                </a:solidFill>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5" y="3001004"/>
            <a:ext cx="4158063" cy="1003948"/>
          </a:xfrm>
        </p:spPr>
        <p:txBody>
          <a:bodyPr/>
          <a:lstStyle>
            <a:lvl1pPr>
              <a:lnSpc>
                <a:spcPts val="2000"/>
              </a:lnSpc>
              <a:defRPr sz="1799" baseline="0">
                <a:solidFill>
                  <a:schemeClr val="accent3"/>
                </a:solidFill>
              </a:defRPr>
            </a:lvl1pPr>
            <a:lvl2pPr>
              <a:lnSpc>
                <a:spcPts val="2000"/>
              </a:lnSpc>
              <a:defRPr sz="1799" b="0">
                <a:solidFill>
                  <a:schemeClr val="bg1"/>
                </a:solidFill>
              </a:defRPr>
            </a:lvl2pPr>
            <a:lvl3pPr>
              <a:lnSpc>
                <a:spcPts val="1499"/>
              </a:lnSpc>
              <a:defRPr>
                <a:solidFill>
                  <a:schemeClr val="accent3"/>
                </a:solidFill>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p:spPr>
        <p:txBody>
          <a:bodyPr/>
          <a:lstStyle>
            <a:lvl1pPr>
              <a:lnSpc>
                <a:spcPts val="2000"/>
              </a:lnSpc>
              <a:defRPr sz="1799" baseline="0">
                <a:solidFill>
                  <a:schemeClr val="accent3"/>
                </a:solidFill>
              </a:defRPr>
            </a:lvl1pPr>
            <a:lvl2pPr>
              <a:lnSpc>
                <a:spcPts val="2000"/>
              </a:lnSpc>
              <a:defRPr sz="1799" b="0">
                <a:solidFill>
                  <a:schemeClr val="bg1"/>
                </a:solidFill>
              </a:defRPr>
            </a:lvl2pPr>
            <a:lvl3pPr>
              <a:lnSpc>
                <a:spcPts val="1499"/>
              </a:lnSpc>
              <a:defRPr>
                <a:solidFill>
                  <a:schemeClr val="accent3"/>
                </a:solidFill>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4"/>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1"/>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1"/>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9"/>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9"/>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811844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081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1" y="3560391"/>
            <a:ext cx="3076792" cy="1003948"/>
          </a:xfrm>
        </p:spPr>
        <p:txBody>
          <a:bodyPr/>
          <a:lstStyle>
            <a:lvl1pPr algn="ctr">
              <a:lnSpc>
                <a:spcPts val="2000"/>
              </a:lnSpc>
              <a:defRPr sz="1799" baseline="0">
                <a:solidFill>
                  <a:schemeClr val="tx2"/>
                </a:solidFill>
              </a:defRPr>
            </a:lvl1pPr>
            <a:lvl2pPr algn="ctr">
              <a:lnSpc>
                <a:spcPts val="2000"/>
              </a:lnSpc>
              <a:defRPr sz="1799" b="0">
                <a:solidFill>
                  <a:schemeClr val="bg1"/>
                </a:solidFill>
              </a:defRPr>
            </a:lvl2pPr>
            <a:lvl3pPr algn="ctr">
              <a:lnSpc>
                <a:spcPts val="1499"/>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p:spPr>
        <p:txBody>
          <a:bodyPr/>
          <a:lstStyle>
            <a:lvl1pPr algn="ctr">
              <a:lnSpc>
                <a:spcPts val="2000"/>
              </a:lnSpc>
              <a:defRPr sz="1799" baseline="0">
                <a:solidFill>
                  <a:schemeClr val="tx2"/>
                </a:solidFill>
              </a:defRPr>
            </a:lvl1pPr>
            <a:lvl2pPr algn="ctr">
              <a:lnSpc>
                <a:spcPts val="2000"/>
              </a:lnSpc>
              <a:defRPr sz="1799"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4" y="3560391"/>
            <a:ext cx="3097102" cy="1003948"/>
          </a:xfrm>
        </p:spPr>
        <p:txBody>
          <a:bodyPr/>
          <a:lstStyle>
            <a:lvl1pPr algn="ctr">
              <a:lnSpc>
                <a:spcPts val="2000"/>
              </a:lnSpc>
              <a:defRPr sz="1799" baseline="0">
                <a:solidFill>
                  <a:schemeClr val="tx2"/>
                </a:solidFill>
              </a:defRPr>
            </a:lvl1pPr>
            <a:lvl2pPr algn="ctr">
              <a:lnSpc>
                <a:spcPts val="2000"/>
              </a:lnSpc>
              <a:defRPr sz="1799"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p:spPr>
        <p:txBody>
          <a:bodyPr/>
          <a:lstStyle>
            <a:lvl1pPr algn="ctr">
              <a:lnSpc>
                <a:spcPts val="2000"/>
              </a:lnSpc>
              <a:defRPr sz="1799" baseline="0">
                <a:solidFill>
                  <a:schemeClr val="tx2"/>
                </a:solidFill>
              </a:defRPr>
            </a:lvl1pPr>
            <a:lvl2pPr algn="ctr">
              <a:lnSpc>
                <a:spcPts val="2000"/>
              </a:lnSpc>
              <a:defRPr sz="1799" b="0">
                <a:solidFill>
                  <a:schemeClr val="bg1"/>
                </a:solidFill>
              </a:defRPr>
            </a:lvl2pPr>
            <a:lvl3pPr algn="ctr">
              <a:lnSpc>
                <a:spcPts val="1499"/>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1"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7"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2"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8"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9149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41840"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1"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799" b="0">
                <a:solidFill>
                  <a:srgbClr val="FFFFFF"/>
                </a:solidFill>
              </a:defRPr>
            </a:lvl1pPr>
            <a:lvl2pPr algn="ctr">
              <a:lnSpc>
                <a:spcPts val="1900"/>
              </a:lnSpc>
              <a:defRPr sz="1799"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706"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8" y="1395415"/>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06" rtl="0" eaLnBrk="1" latinLnBrk="0" hangingPunct="1">
              <a:lnSpc>
                <a:spcPts val="1900"/>
              </a:lnSpc>
              <a:spcBef>
                <a:spcPts val="0"/>
              </a:spcBef>
              <a:buClr>
                <a:srgbClr val="FFFFFF"/>
              </a:buClr>
              <a:buSzPct val="100000"/>
              <a:buFont typeface="Arial"/>
              <a:buNone/>
              <a:defRPr lang="en-US" sz="1799"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706"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2" y="3069321"/>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06" rtl="0" eaLnBrk="1" latinLnBrk="0" hangingPunct="1">
              <a:lnSpc>
                <a:spcPts val="1900"/>
              </a:lnSpc>
              <a:spcBef>
                <a:spcPts val="0"/>
              </a:spcBef>
              <a:buClr>
                <a:srgbClr val="FFFFFF"/>
              </a:buClr>
              <a:buSzPct val="100000"/>
              <a:buFont typeface="Arial"/>
              <a:buNone/>
              <a:defRPr lang="en-US" sz="1799"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706" rtl="0" eaLnBrk="1" latinLnBrk="0" hangingPunct="1">
              <a:lnSpc>
                <a:spcPts val="1600"/>
              </a:lnSpc>
              <a:spcBef>
                <a:spcPts val="0"/>
              </a:spcBef>
              <a:buClr>
                <a:srgbClr val="FFFFFF"/>
              </a:buClr>
              <a:buSzPct val="100000"/>
              <a:buFont typeface="Arial"/>
              <a:buNone/>
            </a:pPr>
            <a:r>
              <a:rPr lang="en-US" dirty="0"/>
              <a:t>XX%</a:t>
            </a:r>
          </a:p>
          <a:p>
            <a:pPr marL="0" lvl="1" indent="0" algn="ctr" defTabSz="961706"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4"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06"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706"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06" rtl="0" eaLnBrk="1" latinLnBrk="0" hangingPunct="1">
              <a:lnSpc>
                <a:spcPts val="1900"/>
              </a:lnSpc>
              <a:spcBef>
                <a:spcPts val="0"/>
              </a:spcBef>
              <a:buClr>
                <a:srgbClr val="FFFFFF"/>
              </a:buClr>
              <a:buSzPct val="100000"/>
              <a:buFont typeface="Arial"/>
              <a:buNone/>
              <a:defRPr lang="en-US" sz="1799"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706" rtl="0" eaLnBrk="1" latinLnBrk="0" hangingPunct="1">
              <a:lnSpc>
                <a:spcPts val="1900"/>
              </a:lnSpc>
              <a:spcBef>
                <a:spcPts val="0"/>
              </a:spcBef>
              <a:buClr>
                <a:srgbClr val="FFFFFF"/>
              </a:buClr>
              <a:buSzPct val="100000"/>
              <a:buFont typeface="Arial"/>
              <a:buNone/>
            </a:pPr>
            <a:r>
              <a:rPr lang="en-US" dirty="0"/>
              <a:t>XX%</a:t>
            </a:r>
          </a:p>
          <a:p>
            <a:pPr marL="0" lvl="1" indent="0" algn="ctr" defTabSz="961706"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7508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2864"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9" y="3595688"/>
            <a:ext cx="12687182" cy="3206749"/>
          </a:xfr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30059"/>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799"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6" y="1385025"/>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799" b="0">
                <a:solidFill>
                  <a:srgbClr val="FFFFFF"/>
                </a:solidFill>
              </a:defRPr>
            </a:lvl1pPr>
            <a:lvl2pPr marL="0" indent="0" algn="ctr" defTabSz="961706"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706"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1"/>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799"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706"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4"/>
            <a:ext cx="3056948" cy="730059"/>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799"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42512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388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1"/>
            <a:ext cx="4115448" cy="4313237"/>
          </a:xfr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imagery </a:t>
            </a:r>
          </a:p>
        </p:txBody>
      </p:sp>
      <p:sp>
        <p:nvSpPr>
          <p:cNvPr id="13"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806419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4593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1458614" y="1404921"/>
            <a:ext cx="10555362" cy="4291030"/>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865219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9611" name="think-cell Slide" r:id="rId4" imgW="6350000" imgH="6350000" progId="">
                  <p:embed/>
                </p:oleObj>
              </mc:Choice>
              <mc:Fallback>
                <p:oleObj name="think-cell Slide" r:id="rId4" imgW="6350000" imgH="6350000" progId="">
                  <p:embed/>
                  <p:pic>
                    <p:nvPicPr>
                      <p:cNvPr id="0" name="Picture 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56598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46960"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4" name="Text Placeholder 3"/>
          <p:cNvSpPr>
            <a:spLocks noGrp="1"/>
          </p:cNvSpPr>
          <p:nvPr>
            <p:ph type="body" sz="quarter" idx="10" hasCustomPrompt="1"/>
          </p:nvPr>
        </p:nvSpPr>
        <p:spPr bwMode="gray">
          <a:xfrm>
            <a:off x="1458616" y="1404921"/>
            <a:ext cx="10555363" cy="4291030"/>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1396735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4798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1"/>
            <a:ext cx="10555362" cy="4291030"/>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89195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4900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3067781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50032"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221644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5105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6" y="1404921"/>
            <a:ext cx="10555363" cy="4291030"/>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1598394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8"/>
            <a:ext cx="13442950" cy="681671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sp>
        <p:nvSpPr>
          <p:cNvPr id="4" name="Text Placeholder 3"/>
          <p:cNvSpPr>
            <a:spLocks noGrp="1"/>
          </p:cNvSpPr>
          <p:nvPr>
            <p:ph type="body" sz="quarter" idx="10" hasCustomPrompt="1"/>
          </p:nvPr>
        </p:nvSpPr>
        <p:spPr bwMode="gray">
          <a:xfrm>
            <a:off x="1458616" y="1404921"/>
            <a:ext cx="10555363" cy="4291030"/>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861885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5208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6" y="1404921"/>
            <a:ext cx="10555363" cy="4291030"/>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308499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5310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39435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5412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6" y="1395416"/>
            <a:ext cx="10555363" cy="4300537"/>
          </a:xfrm>
          <a:ln w="6350" cmpd="sng">
            <a:noFill/>
            <a:prstDash val="lgDash"/>
          </a:ln>
        </p:spPr>
        <p:txBody>
          <a:bodyPr anchor="ctr" anchorCtr="1"/>
          <a:lstStyle>
            <a:lvl1pPr algn="ctr">
              <a:lnSpc>
                <a:spcPts val="6598"/>
              </a:lnSpc>
              <a:buNone/>
              <a:defRPr sz="6598"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263341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5515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6"/>
            <a:ext cx="10555362" cy="4300537"/>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3751838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955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6"/>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8"/>
            <a:ext cx="13442950" cy="6816719"/>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sp>
        <p:nvSpPr>
          <p:cNvPr id="4" name="Text Placeholder 3"/>
          <p:cNvSpPr>
            <a:spLocks noGrp="1"/>
          </p:cNvSpPr>
          <p:nvPr>
            <p:ph type="body" sz="quarter" idx="10" hasCustomPrompt="1"/>
          </p:nvPr>
        </p:nvSpPr>
        <p:spPr bwMode="gray">
          <a:xfrm>
            <a:off x="1458614" y="1395416"/>
            <a:ext cx="10555362" cy="4300537"/>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842985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B5849-9170-45E6-8B17-0C6AB28560C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91E5149-8DB0-46AF-B6EC-0DC9E1023FD4}"/>
              </a:ext>
            </a:extLst>
          </p:cNvPr>
          <p:cNvSpPr>
            <a:spLocks noGrp="1"/>
          </p:cNvSpPr>
          <p:nvPr>
            <p:ph type="dt" sz="half" idx="10"/>
          </p:nvPr>
        </p:nvSpPr>
        <p:spPr/>
        <p:txBody>
          <a:bodyPr/>
          <a:lstStyle/>
          <a:p>
            <a:fld id="{F128B0F6-A883-4665-B699-C1EA9F3E5937}" type="datetimeFigureOut">
              <a:rPr lang="en-GB" smtClean="0"/>
              <a:t>22/03/2019</a:t>
            </a:fld>
            <a:endParaRPr lang="en-GB"/>
          </a:p>
        </p:txBody>
      </p:sp>
      <p:sp>
        <p:nvSpPr>
          <p:cNvPr id="4" name="Footer Placeholder 3">
            <a:extLst>
              <a:ext uri="{FF2B5EF4-FFF2-40B4-BE49-F238E27FC236}">
                <a16:creationId xmlns:a16="http://schemas.microsoft.com/office/drawing/2014/main" id="{DE45E549-9552-498A-AD91-80D96D12A2B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9E4AFC5-63B7-4DA5-9CB9-9A7FFFFFA9D0}"/>
              </a:ext>
            </a:extLst>
          </p:cNvPr>
          <p:cNvSpPr>
            <a:spLocks noGrp="1"/>
          </p:cNvSpPr>
          <p:nvPr>
            <p:ph type="sldNum" sz="quarter" idx="12"/>
          </p:nvPr>
        </p:nvSpPr>
        <p:spPr/>
        <p:txBody>
          <a:bodyPr/>
          <a:lstStyle/>
          <a:p>
            <a:fld id="{672353F4-4D0A-4965-8C8F-CBECCE7B8296}" type="slidenum">
              <a:rPr lang="en-GB" smtClean="0"/>
              <a:t>‹#›</a:t>
            </a:fld>
            <a:endParaRPr lang="en-GB"/>
          </a:p>
        </p:txBody>
      </p:sp>
    </p:spTree>
    <p:extLst>
      <p:ext uri="{BB962C8B-B14F-4D97-AF65-F5344CB8AC3E}">
        <p14:creationId xmlns:p14="http://schemas.microsoft.com/office/powerpoint/2010/main" val="38050189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5822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1"/>
            <a:ext cx="8426275" cy="4210169"/>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4103267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5924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1"/>
            <a:ext cx="8426275"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9858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1"/>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027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5"/>
            <a:ext cx="12507236" cy="5405438"/>
          </a:xfr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2"/>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4"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3" y="2512932"/>
            <a:ext cx="8402590" cy="3106574"/>
          </a:xfrm>
          <a:ln w="0" cap="flat" cmpd="sng" algn="ctr">
            <a:noFill/>
            <a:prstDash val="solid"/>
            <a:round/>
            <a:headEnd type="none" w="med" len="med"/>
            <a:tailEnd type="none" w="med" len="med"/>
          </a:ln>
        </p:spPr>
        <p:txBody>
          <a:bodyPr anchor="ctr" anchorCtr="1"/>
          <a:lstStyle>
            <a:lvl1pPr algn="ctr">
              <a:lnSpc>
                <a:spcPts val="2000"/>
              </a:lnSpc>
              <a:buNone/>
              <a:defRPr sz="1799"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737088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129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2" y="1372457"/>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2" y="157733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8" y="1902928"/>
            <a:ext cx="5235066"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3" y="1902928"/>
            <a:ext cx="5232045"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87698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232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0635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334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906161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436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7"/>
            <a:ext cx="12413343" cy="409568"/>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5"/>
            <a:ext cx="5238453" cy="3788813"/>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7"/>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3" y="2468630"/>
            <a:ext cx="5236703" cy="3781359"/>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033685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539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7"/>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9"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9"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8"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8"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6"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6"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9" y="2459740"/>
            <a:ext cx="4124127"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55651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54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4458" y="5786517"/>
            <a:ext cx="12305338" cy="455176"/>
          </a:xfrm>
          <a:prstGeom prst="rect">
            <a:avLst/>
          </a:prstGeom>
        </p:spPr>
        <p:txBody>
          <a:bodyPr/>
          <a:lstStyle>
            <a:lvl1pPr marL="0" indent="0" algn="l">
              <a:lnSpc>
                <a:spcPts val="15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774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3" cy="4300537"/>
          </a:xfrm>
          <a:prstGeom prst="rect">
            <a:avLst/>
          </a:prstGeo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641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7"/>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6"/>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10"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10"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7" y="2467962"/>
            <a:ext cx="4169764" cy="1026126"/>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1" y="3548040"/>
            <a:ext cx="4169764" cy="1054123"/>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3" y="2458714"/>
            <a:ext cx="4128151" cy="1035374"/>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7" y="3559767"/>
            <a:ext cx="4113557" cy="1042396"/>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07917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744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3" y="2467962"/>
            <a:ext cx="4162147"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8" y="3548040"/>
            <a:ext cx="415942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4"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4"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89275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846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p:spPr>
        <p:txBody>
          <a:bodyPr/>
          <a:lstStyle>
            <a:lvl1pPr algn="ctr">
              <a:lnSpc>
                <a:spcPts val="2000"/>
              </a:lnSpc>
              <a:defRPr sz="1799" baseline="0">
                <a:solidFill>
                  <a:schemeClr val="bg2"/>
                </a:solidFill>
              </a:defRPr>
            </a:lvl1pPr>
            <a:lvl2pPr algn="ctr">
              <a:lnSpc>
                <a:spcPts val="2000"/>
              </a:lnSpc>
              <a:defRPr sz="1799" b="0">
                <a:solidFill>
                  <a:schemeClr val="bg1"/>
                </a:solidFill>
              </a:defRPr>
            </a:lvl2pPr>
            <a:lvl3pPr algn="ctr">
              <a:lnSpc>
                <a:spcPts val="1499"/>
              </a:lnSpc>
              <a:defRPr>
                <a:solidFill>
                  <a:schemeClr val="bg2"/>
                </a:solidFill>
              </a:defRPr>
            </a:lvl3pPr>
            <a:lvl4pPr algn="ctr">
              <a:lnSpc>
                <a:spcPts val="1499"/>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4" y="3557877"/>
            <a:ext cx="3088537" cy="1003948"/>
          </a:xfrm>
        </p:spPr>
        <p:txBody>
          <a:bodyPr/>
          <a:lstStyle>
            <a:lvl1pPr algn="ctr">
              <a:lnSpc>
                <a:spcPts val="2000"/>
              </a:lnSpc>
              <a:defRPr sz="1799" baseline="0">
                <a:solidFill>
                  <a:schemeClr val="bg2"/>
                </a:solidFill>
              </a:defRPr>
            </a:lvl1pPr>
            <a:lvl2pPr algn="ctr">
              <a:lnSpc>
                <a:spcPts val="2000"/>
              </a:lnSpc>
              <a:defRPr sz="1799" b="0">
                <a:solidFill>
                  <a:schemeClr val="bg1"/>
                </a:solidFill>
              </a:defRPr>
            </a:lvl2pPr>
            <a:lvl3pPr algn="ctr">
              <a:lnSpc>
                <a:spcPts val="1499"/>
              </a:lnSpc>
              <a:defRPr>
                <a:solidFill>
                  <a:schemeClr val="bg2"/>
                </a:solidFill>
              </a:defRPr>
            </a:lvl3pPr>
            <a:lvl4pPr algn="ctr">
              <a:lnSpc>
                <a:spcPts val="1499"/>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p:spPr>
        <p:txBody>
          <a:bodyPr/>
          <a:lstStyle>
            <a:lvl1pPr algn="ctr">
              <a:lnSpc>
                <a:spcPts val="2000"/>
              </a:lnSpc>
              <a:defRPr sz="1799" baseline="0">
                <a:solidFill>
                  <a:schemeClr val="bg2"/>
                </a:solidFill>
              </a:defRPr>
            </a:lvl1pPr>
            <a:lvl2pPr algn="ctr">
              <a:lnSpc>
                <a:spcPts val="2000"/>
              </a:lnSpc>
              <a:defRPr sz="1799" b="0">
                <a:solidFill>
                  <a:schemeClr val="bg1"/>
                </a:solidFill>
              </a:defRPr>
            </a:lvl2pPr>
            <a:lvl3pPr algn="ctr">
              <a:lnSpc>
                <a:spcPts val="1499"/>
              </a:lnSpc>
              <a:defRPr>
                <a:solidFill>
                  <a:schemeClr val="bg2"/>
                </a:solidFill>
              </a:defRPr>
            </a:lvl3pPr>
            <a:lvl4pPr algn="ctr">
              <a:lnSpc>
                <a:spcPts val="1499"/>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p:spPr>
        <p:txBody>
          <a:bodyPr/>
          <a:lstStyle>
            <a:lvl1pPr algn="ctr">
              <a:lnSpc>
                <a:spcPts val="2000"/>
              </a:lnSpc>
              <a:defRPr sz="1799" baseline="0">
                <a:solidFill>
                  <a:schemeClr val="bg2"/>
                </a:solidFill>
              </a:defRPr>
            </a:lvl1pPr>
            <a:lvl2pPr algn="ctr">
              <a:lnSpc>
                <a:spcPts val="2000"/>
              </a:lnSpc>
              <a:defRPr sz="1799" b="0">
                <a:solidFill>
                  <a:schemeClr val="bg1"/>
                </a:solidFill>
              </a:defRPr>
            </a:lvl2pPr>
            <a:lvl3pPr algn="ctr">
              <a:lnSpc>
                <a:spcPts val="1499"/>
              </a:lnSpc>
              <a:defRPr>
                <a:solidFill>
                  <a:schemeClr val="bg2"/>
                </a:solidFill>
              </a:defRPr>
            </a:lvl3pPr>
            <a:lvl4pPr algn="ctr">
              <a:lnSpc>
                <a:spcPts val="1499"/>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5" y="135794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5"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7"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1"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7"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805393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948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7"/>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4" y="3011509"/>
            <a:ext cx="4152135" cy="1029659"/>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6" y="5207562"/>
            <a:ext cx="4121798" cy="1003948"/>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1" y="3006084"/>
            <a:ext cx="4161382" cy="1029659"/>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1" y="5209764"/>
            <a:ext cx="4164912" cy="1003948"/>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036776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051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8"/>
            <a:ext cx="3081873"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7"/>
            <a:ext cx="308853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4" y="3548348"/>
            <a:ext cx="3097102"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6"/>
            <a:ext cx="308894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4"/>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928548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153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6" y="3005158"/>
            <a:ext cx="4158063" cy="1003948"/>
          </a:xfrm>
        </p:spPr>
        <p:txBody>
          <a:bodyPr/>
          <a:lstStyle>
            <a:lvl1pPr>
              <a:lnSpc>
                <a:spcPts val="2000"/>
              </a:lnSpc>
              <a:defRPr sz="1799" baseline="0">
                <a:solidFill>
                  <a:schemeClr val="accent3"/>
                </a:solidFill>
              </a:defRPr>
            </a:lvl1pPr>
            <a:lvl2pPr>
              <a:lnSpc>
                <a:spcPts val="2000"/>
              </a:lnSpc>
              <a:defRPr sz="1799" b="0">
                <a:solidFill>
                  <a:schemeClr val="bg1"/>
                </a:solidFill>
              </a:defRPr>
            </a:lvl2pPr>
            <a:lvl3pPr>
              <a:lnSpc>
                <a:spcPts val="1499"/>
              </a:lnSpc>
              <a:defRPr>
                <a:solidFill>
                  <a:schemeClr val="accent3"/>
                </a:solidFill>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2" y="5220262"/>
            <a:ext cx="4155337" cy="1003948"/>
          </a:xfrm>
        </p:spPr>
        <p:txBody>
          <a:bodyPr/>
          <a:lstStyle>
            <a:lvl1pPr>
              <a:lnSpc>
                <a:spcPts val="2000"/>
              </a:lnSpc>
              <a:defRPr sz="1799" baseline="0">
                <a:solidFill>
                  <a:schemeClr val="accent3"/>
                </a:solidFill>
              </a:defRPr>
            </a:lvl1pPr>
            <a:lvl2pPr>
              <a:lnSpc>
                <a:spcPts val="2000"/>
              </a:lnSpc>
              <a:defRPr sz="1799" b="0">
                <a:solidFill>
                  <a:schemeClr val="bg1"/>
                </a:solidFill>
              </a:defRPr>
            </a:lvl2pPr>
            <a:lvl3pPr>
              <a:lnSpc>
                <a:spcPts val="1499"/>
              </a:lnSpc>
              <a:defRPr>
                <a:solidFill>
                  <a:schemeClr val="accent3"/>
                </a:solidFill>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5" y="3001004"/>
            <a:ext cx="4158063" cy="1003948"/>
          </a:xfrm>
        </p:spPr>
        <p:txBody>
          <a:bodyPr/>
          <a:lstStyle>
            <a:lvl1pPr>
              <a:lnSpc>
                <a:spcPts val="2000"/>
              </a:lnSpc>
              <a:defRPr sz="1799" baseline="0">
                <a:solidFill>
                  <a:schemeClr val="accent3"/>
                </a:solidFill>
              </a:defRPr>
            </a:lvl1pPr>
            <a:lvl2pPr>
              <a:lnSpc>
                <a:spcPts val="2000"/>
              </a:lnSpc>
              <a:defRPr sz="1799" b="0">
                <a:solidFill>
                  <a:schemeClr val="bg1"/>
                </a:solidFill>
              </a:defRPr>
            </a:lvl2pPr>
            <a:lvl3pPr>
              <a:lnSpc>
                <a:spcPts val="1499"/>
              </a:lnSpc>
              <a:defRPr>
                <a:solidFill>
                  <a:schemeClr val="accent3"/>
                </a:solidFill>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p:spPr>
        <p:txBody>
          <a:bodyPr/>
          <a:lstStyle>
            <a:lvl1pPr>
              <a:lnSpc>
                <a:spcPts val="2000"/>
              </a:lnSpc>
              <a:defRPr sz="1799" baseline="0">
                <a:solidFill>
                  <a:schemeClr val="accent3"/>
                </a:solidFill>
              </a:defRPr>
            </a:lvl1pPr>
            <a:lvl2pPr>
              <a:lnSpc>
                <a:spcPts val="2000"/>
              </a:lnSpc>
              <a:defRPr sz="1799" b="0">
                <a:solidFill>
                  <a:schemeClr val="bg1"/>
                </a:solidFill>
              </a:defRPr>
            </a:lvl2pPr>
            <a:lvl3pPr>
              <a:lnSpc>
                <a:spcPts val="1499"/>
              </a:lnSpc>
              <a:defRPr>
                <a:solidFill>
                  <a:schemeClr val="accent3"/>
                </a:solidFill>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4"/>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1"/>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1"/>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9"/>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9"/>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016655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256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1" y="3560391"/>
            <a:ext cx="3076792" cy="1003948"/>
          </a:xfrm>
        </p:spPr>
        <p:txBody>
          <a:bodyPr/>
          <a:lstStyle>
            <a:lvl1pPr algn="ctr">
              <a:lnSpc>
                <a:spcPts val="2000"/>
              </a:lnSpc>
              <a:defRPr sz="1799" baseline="0">
                <a:solidFill>
                  <a:schemeClr val="tx2"/>
                </a:solidFill>
              </a:defRPr>
            </a:lvl1pPr>
            <a:lvl2pPr algn="ctr">
              <a:lnSpc>
                <a:spcPts val="2000"/>
              </a:lnSpc>
              <a:defRPr sz="1799" b="0">
                <a:solidFill>
                  <a:schemeClr val="bg1"/>
                </a:solidFill>
              </a:defRPr>
            </a:lvl2pPr>
            <a:lvl3pPr algn="ctr">
              <a:lnSpc>
                <a:spcPts val="1499"/>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p:spPr>
        <p:txBody>
          <a:bodyPr/>
          <a:lstStyle>
            <a:lvl1pPr algn="ctr">
              <a:lnSpc>
                <a:spcPts val="2000"/>
              </a:lnSpc>
              <a:defRPr sz="1799" baseline="0">
                <a:solidFill>
                  <a:schemeClr val="tx2"/>
                </a:solidFill>
              </a:defRPr>
            </a:lvl1pPr>
            <a:lvl2pPr algn="ctr">
              <a:lnSpc>
                <a:spcPts val="2000"/>
              </a:lnSpc>
              <a:defRPr sz="1799"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4" y="3560391"/>
            <a:ext cx="3097102" cy="1003948"/>
          </a:xfrm>
        </p:spPr>
        <p:txBody>
          <a:bodyPr/>
          <a:lstStyle>
            <a:lvl1pPr algn="ctr">
              <a:lnSpc>
                <a:spcPts val="2000"/>
              </a:lnSpc>
              <a:defRPr sz="1799" baseline="0">
                <a:solidFill>
                  <a:schemeClr val="tx2"/>
                </a:solidFill>
              </a:defRPr>
            </a:lvl1pPr>
            <a:lvl2pPr algn="ctr">
              <a:lnSpc>
                <a:spcPts val="2000"/>
              </a:lnSpc>
              <a:defRPr sz="1799"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p:spPr>
        <p:txBody>
          <a:bodyPr/>
          <a:lstStyle>
            <a:lvl1pPr algn="ctr">
              <a:lnSpc>
                <a:spcPts val="2000"/>
              </a:lnSpc>
              <a:defRPr sz="1799" baseline="0">
                <a:solidFill>
                  <a:schemeClr val="tx2"/>
                </a:solidFill>
              </a:defRPr>
            </a:lvl1pPr>
            <a:lvl2pPr algn="ctr">
              <a:lnSpc>
                <a:spcPts val="2000"/>
              </a:lnSpc>
              <a:defRPr sz="1799" b="0">
                <a:solidFill>
                  <a:schemeClr val="bg1"/>
                </a:solidFill>
              </a:defRPr>
            </a:lvl2pPr>
            <a:lvl3pPr algn="ctr">
              <a:lnSpc>
                <a:spcPts val="1499"/>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1"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7"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2"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8"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2008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73584"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1"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799" b="0">
                <a:solidFill>
                  <a:srgbClr val="FFFFFF"/>
                </a:solidFill>
              </a:defRPr>
            </a:lvl1pPr>
            <a:lvl2pPr algn="ctr">
              <a:lnSpc>
                <a:spcPts val="1900"/>
              </a:lnSpc>
              <a:defRPr sz="1799"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706"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8" y="1395415"/>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06" rtl="0" eaLnBrk="1" latinLnBrk="0" hangingPunct="1">
              <a:lnSpc>
                <a:spcPts val="1900"/>
              </a:lnSpc>
              <a:spcBef>
                <a:spcPts val="0"/>
              </a:spcBef>
              <a:buClr>
                <a:srgbClr val="FFFFFF"/>
              </a:buClr>
              <a:buSzPct val="100000"/>
              <a:buFont typeface="Arial"/>
              <a:buNone/>
              <a:defRPr lang="en-US" sz="1799"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706"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2" y="3069321"/>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06" rtl="0" eaLnBrk="1" latinLnBrk="0" hangingPunct="1">
              <a:lnSpc>
                <a:spcPts val="1900"/>
              </a:lnSpc>
              <a:spcBef>
                <a:spcPts val="0"/>
              </a:spcBef>
              <a:buClr>
                <a:srgbClr val="FFFFFF"/>
              </a:buClr>
              <a:buSzPct val="100000"/>
              <a:buFont typeface="Arial"/>
              <a:buNone/>
              <a:defRPr lang="en-US" sz="1799"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706" rtl="0" eaLnBrk="1" latinLnBrk="0" hangingPunct="1">
              <a:lnSpc>
                <a:spcPts val="1600"/>
              </a:lnSpc>
              <a:spcBef>
                <a:spcPts val="0"/>
              </a:spcBef>
              <a:buClr>
                <a:srgbClr val="FFFFFF"/>
              </a:buClr>
              <a:buSzPct val="100000"/>
              <a:buFont typeface="Arial"/>
              <a:buNone/>
            </a:pPr>
            <a:r>
              <a:rPr lang="en-US" dirty="0"/>
              <a:t>XX%</a:t>
            </a:r>
          </a:p>
          <a:p>
            <a:pPr marL="0" lvl="1" indent="0" algn="ctr" defTabSz="961706"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4"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06"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706"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06" rtl="0" eaLnBrk="1" latinLnBrk="0" hangingPunct="1">
              <a:lnSpc>
                <a:spcPts val="1900"/>
              </a:lnSpc>
              <a:spcBef>
                <a:spcPts val="0"/>
              </a:spcBef>
              <a:buClr>
                <a:srgbClr val="FFFFFF"/>
              </a:buClr>
              <a:buSzPct val="100000"/>
              <a:buFont typeface="Arial"/>
              <a:buNone/>
              <a:defRPr lang="en-US" sz="1799"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706" rtl="0" eaLnBrk="1" latinLnBrk="0" hangingPunct="1">
              <a:lnSpc>
                <a:spcPts val="1900"/>
              </a:lnSpc>
              <a:spcBef>
                <a:spcPts val="0"/>
              </a:spcBef>
              <a:buClr>
                <a:srgbClr val="FFFFFF"/>
              </a:buClr>
              <a:buSzPct val="100000"/>
              <a:buFont typeface="Arial"/>
              <a:buNone/>
            </a:pPr>
            <a:r>
              <a:rPr lang="en-US" dirty="0"/>
              <a:t>XX%</a:t>
            </a:r>
          </a:p>
          <a:p>
            <a:pPr marL="0" lvl="1" indent="0" algn="ctr" defTabSz="961706"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073335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4608"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9" y="3595688"/>
            <a:ext cx="12687182" cy="3206749"/>
          </a:xfr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19344"/>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799"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6" y="1385025"/>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799" b="0">
                <a:solidFill>
                  <a:srgbClr val="FFFFFF"/>
                </a:solidFill>
              </a:defRPr>
            </a:lvl1pPr>
            <a:lvl2pPr marL="0" indent="0" algn="ctr" defTabSz="961706"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706"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1"/>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799"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706"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4"/>
            <a:ext cx="3056948" cy="719344"/>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799"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3049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563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1"/>
            <a:ext cx="4115448" cy="4313237"/>
          </a:xfr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imagery </a:t>
            </a:r>
          </a:p>
        </p:txBody>
      </p:sp>
      <p:sp>
        <p:nvSpPr>
          <p:cNvPr id="13"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55297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082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72148" y="7008173"/>
            <a:ext cx="3136688" cy="402568"/>
          </a:xfrm>
          <a:prstGeom prst="rect">
            <a:avLst/>
          </a:prstGeom>
        </p:spPr>
        <p:txBody>
          <a:bodyPr lIns="91434" tIns="45717" rIns="91434" bIns="45717"/>
          <a:lstStyle/>
          <a:p>
            <a:fld id="{68C2560D-EC28-3B41-86E8-18F1CE0113B4}" type="datetimeFigureOut">
              <a:rPr lang="en-US" smtClean="0"/>
              <a:t>3/22/2019</a:t>
            </a:fld>
            <a:endParaRPr lang="en-US"/>
          </a:p>
        </p:txBody>
      </p:sp>
      <p:sp>
        <p:nvSpPr>
          <p:cNvPr id="5" name="Footer Placeholder 4"/>
          <p:cNvSpPr>
            <a:spLocks noGrp="1"/>
          </p:cNvSpPr>
          <p:nvPr>
            <p:ph type="ftr" sz="quarter" idx="11"/>
          </p:nvPr>
        </p:nvSpPr>
        <p:spPr>
          <a:xfrm>
            <a:off x="4593008" y="7008173"/>
            <a:ext cx="4256934" cy="402568"/>
          </a:xfrm>
          <a:prstGeom prst="rect">
            <a:avLst/>
          </a:prstGeom>
        </p:spPr>
        <p:txBody>
          <a:bodyPr lIns="91434" tIns="45717" rIns="91434" bIns="45717"/>
          <a:lstStyle/>
          <a:p>
            <a:endParaRPr lang="en-US"/>
          </a:p>
        </p:txBody>
      </p:sp>
      <p:sp>
        <p:nvSpPr>
          <p:cNvPr id="6" name="Slide Number Placeholder 5"/>
          <p:cNvSpPr>
            <a:spLocks noGrp="1"/>
          </p:cNvSpPr>
          <p:nvPr>
            <p:ph type="sldNum" sz="quarter" idx="12"/>
          </p:nvPr>
        </p:nvSpPr>
        <p:spPr>
          <a:xfrm>
            <a:off x="9634114" y="7008173"/>
            <a:ext cx="3136688" cy="402568"/>
          </a:xfrm>
          <a:prstGeom prst="rect">
            <a:avLst/>
          </a:prstGeom>
        </p:spPr>
        <p:txBody>
          <a:bodyPr lIns="91434" tIns="45717" rIns="91434" bIns="45717"/>
          <a:lstStyle/>
          <a:p>
            <a:fld id="{2066355A-084C-D24E-9AD2-7E4FC41EA627}" type="slidenum">
              <a:rPr lang="en-US" smtClean="0"/>
              <a:t>‹#›</a:t>
            </a:fld>
            <a:endParaRPr lang="en-US"/>
          </a:p>
        </p:txBody>
      </p:sp>
    </p:spTree>
    <p:extLst>
      <p:ext uri="{BB962C8B-B14F-4D97-AF65-F5344CB8AC3E}">
        <p14:creationId xmlns:p14="http://schemas.microsoft.com/office/powerpoint/2010/main" val="131647285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 Columns of Larger Body Text">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992344" y="1071675"/>
            <a:ext cx="11908125" cy="1349517"/>
          </a:xfrm>
        </p:spPr>
        <p:txBody>
          <a:bodyPr anchor="t" anchorCtr="0"/>
          <a:lstStyle>
            <a:lvl1pPr>
              <a:lnSpc>
                <a:spcPts val="4631"/>
              </a:lnSpc>
              <a:defRPr sz="4851" b="1" spc="-166" baseline="0">
                <a:solidFill>
                  <a:schemeClr val="tx1"/>
                </a:solidFill>
              </a:defRPr>
            </a:lvl1pPr>
          </a:lstStyle>
          <a:p>
            <a:r>
              <a:rPr lang="en-GB" dirty="0"/>
              <a:t>Insert </a:t>
            </a:r>
            <a:r>
              <a:rPr lang="en-US" dirty="0"/>
              <a:t>text here</a:t>
            </a:r>
          </a:p>
        </p:txBody>
      </p:sp>
      <p:sp>
        <p:nvSpPr>
          <p:cNvPr id="10" name="Text Placeholder 9"/>
          <p:cNvSpPr>
            <a:spLocks noGrp="1"/>
          </p:cNvSpPr>
          <p:nvPr>
            <p:ph type="body" sz="quarter" idx="10" hasCustomPrompt="1"/>
          </p:nvPr>
        </p:nvSpPr>
        <p:spPr>
          <a:xfrm>
            <a:off x="992467" y="2579959"/>
            <a:ext cx="9129563" cy="4763000"/>
          </a:xfrm>
        </p:spPr>
        <p:txBody>
          <a:bodyPr numCol="1" spcCol="359991"/>
          <a:lstStyle>
            <a:lvl1pPr marL="378037" indent="-378037">
              <a:lnSpc>
                <a:spcPts val="2646"/>
              </a:lnSpc>
              <a:buClr>
                <a:schemeClr val="tx2"/>
              </a:buClr>
              <a:buSzPct val="120000"/>
              <a:buFont typeface="Wingdings" charset="2"/>
              <a:buChar char="§"/>
              <a:defRPr sz="2205" spc="0" baseline="0"/>
            </a:lvl1pPr>
            <a:lvl2pPr marL="504051" indent="0">
              <a:lnSpc>
                <a:spcPts val="2646"/>
              </a:lnSpc>
              <a:buFontTx/>
              <a:buNone/>
              <a:defRPr sz="2205" spc="0"/>
            </a:lvl2pPr>
            <a:lvl3pPr marL="1008101" indent="0">
              <a:lnSpc>
                <a:spcPts val="2646"/>
              </a:lnSpc>
              <a:buFontTx/>
              <a:buNone/>
              <a:defRPr sz="2205" spc="0"/>
            </a:lvl3pPr>
            <a:lvl4pPr marL="1512152" indent="0">
              <a:lnSpc>
                <a:spcPts val="2646"/>
              </a:lnSpc>
              <a:buFontTx/>
              <a:buNone/>
              <a:defRPr sz="2205" spc="0"/>
            </a:lvl4pPr>
            <a:lvl5pPr marL="2016201" indent="0">
              <a:lnSpc>
                <a:spcPts val="2646"/>
              </a:lnSpc>
              <a:buFontTx/>
              <a:buNone/>
              <a:defRPr sz="2205" spc="0"/>
            </a:lvl5pPr>
          </a:lstStyle>
          <a:p>
            <a:pPr lvl="0"/>
            <a:r>
              <a:rPr lang="en-US" dirty="0"/>
              <a:t>Insert Text here </a:t>
            </a:r>
            <a:r>
              <a:rPr lang="mr-IN" dirty="0"/>
              <a:t>–</a:t>
            </a:r>
            <a:r>
              <a:rPr lang="en-US" dirty="0"/>
              <a:t> 1 column option</a:t>
            </a:r>
          </a:p>
        </p:txBody>
      </p:sp>
    </p:spTree>
    <p:extLst>
      <p:ext uri="{BB962C8B-B14F-4D97-AF65-F5344CB8AC3E}">
        <p14:creationId xmlns:p14="http://schemas.microsoft.com/office/powerpoint/2010/main" val="427175574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ase Study Slide - Editable">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992345" y="1071675"/>
            <a:ext cx="6787756" cy="1349517"/>
          </a:xfrm>
        </p:spPr>
        <p:txBody>
          <a:bodyPr anchor="t" anchorCtr="0"/>
          <a:lstStyle>
            <a:lvl1pPr>
              <a:lnSpc>
                <a:spcPts val="4631"/>
              </a:lnSpc>
              <a:defRPr sz="4851" b="1" spc="-166" baseline="0">
                <a:solidFill>
                  <a:schemeClr val="tx1"/>
                </a:solidFill>
              </a:defRPr>
            </a:lvl1pPr>
          </a:lstStyle>
          <a:p>
            <a:r>
              <a:rPr lang="en-GB" dirty="0"/>
              <a:t>Heading using black and yellow for text</a:t>
            </a:r>
            <a:endParaRPr lang="en-US" dirty="0"/>
          </a:p>
        </p:txBody>
      </p:sp>
      <p:sp>
        <p:nvSpPr>
          <p:cNvPr id="10" name="Text Placeholder 9"/>
          <p:cNvSpPr>
            <a:spLocks noGrp="1"/>
          </p:cNvSpPr>
          <p:nvPr>
            <p:ph type="body" sz="quarter" idx="10"/>
          </p:nvPr>
        </p:nvSpPr>
        <p:spPr>
          <a:xfrm>
            <a:off x="992468" y="3969167"/>
            <a:ext cx="6787631" cy="3368653"/>
          </a:xfrm>
        </p:spPr>
        <p:txBody>
          <a:bodyPr/>
          <a:lstStyle>
            <a:lvl1pPr marL="0" indent="0">
              <a:lnSpc>
                <a:spcPts val="2205"/>
              </a:lnSpc>
              <a:buClr>
                <a:schemeClr val="tx2"/>
              </a:buClr>
              <a:buSzPct val="120000"/>
              <a:buFontTx/>
              <a:buNone/>
              <a:defRPr sz="1764" spc="0"/>
            </a:lvl1pPr>
            <a:lvl2pPr marL="504051" indent="0">
              <a:lnSpc>
                <a:spcPts val="2646"/>
              </a:lnSpc>
              <a:buFontTx/>
              <a:buNone/>
              <a:defRPr sz="2205" spc="0"/>
            </a:lvl2pPr>
            <a:lvl3pPr marL="1008101" indent="0">
              <a:lnSpc>
                <a:spcPts val="2646"/>
              </a:lnSpc>
              <a:buFontTx/>
              <a:buNone/>
              <a:defRPr sz="2205" spc="0"/>
            </a:lvl3pPr>
            <a:lvl4pPr marL="1512152" indent="0">
              <a:lnSpc>
                <a:spcPts val="2646"/>
              </a:lnSpc>
              <a:buFontTx/>
              <a:buNone/>
              <a:defRPr sz="2205" spc="0"/>
            </a:lvl4pPr>
            <a:lvl5pPr marL="2016201" indent="0">
              <a:lnSpc>
                <a:spcPts val="2646"/>
              </a:lnSpc>
              <a:buFontTx/>
              <a:buNone/>
              <a:defRPr sz="2205" spc="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p>
        </p:txBody>
      </p:sp>
      <p:sp>
        <p:nvSpPr>
          <p:cNvPr id="3" name="Picture Placeholder 2"/>
          <p:cNvSpPr>
            <a:spLocks noGrp="1"/>
          </p:cNvSpPr>
          <p:nvPr>
            <p:ph type="pic" sz="quarter" idx="12" hasCustomPrompt="1"/>
          </p:nvPr>
        </p:nvSpPr>
        <p:spPr>
          <a:xfrm>
            <a:off x="992347" y="2574682"/>
            <a:ext cx="6788115" cy="1240957"/>
          </a:xfrm>
        </p:spPr>
        <p:txBody>
          <a:bodyPr/>
          <a:lstStyle/>
          <a:p>
            <a:r>
              <a:rPr lang="en-US" dirty="0"/>
              <a:t>Insert logo</a:t>
            </a:r>
          </a:p>
        </p:txBody>
      </p:sp>
      <p:sp>
        <p:nvSpPr>
          <p:cNvPr id="13" name="Picture Placeholder 2"/>
          <p:cNvSpPr>
            <a:spLocks noGrp="1"/>
          </p:cNvSpPr>
          <p:nvPr>
            <p:ph type="pic" sz="quarter" idx="13" hasCustomPrompt="1"/>
          </p:nvPr>
        </p:nvSpPr>
        <p:spPr>
          <a:xfrm>
            <a:off x="7918903" y="238150"/>
            <a:ext cx="5287208" cy="7084963"/>
          </a:xfrm>
        </p:spPr>
        <p:txBody>
          <a:bodyPr/>
          <a:lstStyle/>
          <a:p>
            <a:r>
              <a:rPr lang="en-US" dirty="0"/>
              <a:t>Insert image</a:t>
            </a:r>
          </a:p>
        </p:txBody>
      </p:sp>
    </p:spTree>
    <p:extLst>
      <p:ext uri="{BB962C8B-B14F-4D97-AF65-F5344CB8AC3E}">
        <p14:creationId xmlns:p14="http://schemas.microsoft.com/office/powerpoint/2010/main" val="400947191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Graphic on Left - Text on Right">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992344" y="1071675"/>
            <a:ext cx="11908125" cy="1349517"/>
          </a:xfrm>
        </p:spPr>
        <p:txBody>
          <a:bodyPr anchor="t" anchorCtr="0"/>
          <a:lstStyle>
            <a:lvl1pPr>
              <a:lnSpc>
                <a:spcPts val="4631"/>
              </a:lnSpc>
              <a:defRPr sz="4851" b="1" spc="-166" baseline="0">
                <a:solidFill>
                  <a:schemeClr val="tx1"/>
                </a:solidFill>
              </a:defRPr>
            </a:lvl1pPr>
          </a:lstStyle>
          <a:p>
            <a:r>
              <a:rPr lang="en-GB" dirty="0"/>
              <a:t>Insert </a:t>
            </a:r>
            <a:r>
              <a:rPr lang="en-US" dirty="0"/>
              <a:t>text here</a:t>
            </a:r>
          </a:p>
        </p:txBody>
      </p:sp>
      <p:sp>
        <p:nvSpPr>
          <p:cNvPr id="10" name="Text Placeholder 9"/>
          <p:cNvSpPr>
            <a:spLocks noGrp="1"/>
          </p:cNvSpPr>
          <p:nvPr>
            <p:ph type="body" sz="quarter" idx="10"/>
          </p:nvPr>
        </p:nvSpPr>
        <p:spPr>
          <a:xfrm>
            <a:off x="6107708" y="2579959"/>
            <a:ext cx="6787631" cy="4763000"/>
          </a:xfrm>
        </p:spPr>
        <p:txBody>
          <a:bodyPr/>
          <a:lstStyle>
            <a:lvl1pPr marL="378037" indent="-378037">
              <a:lnSpc>
                <a:spcPts val="2646"/>
              </a:lnSpc>
              <a:buClr>
                <a:schemeClr val="tx2"/>
              </a:buClr>
              <a:buSzPct val="120000"/>
              <a:buFont typeface="Wingdings" charset="2"/>
              <a:buChar char="§"/>
              <a:defRPr sz="2205" spc="0"/>
            </a:lvl1pPr>
            <a:lvl2pPr marL="504051" indent="0">
              <a:lnSpc>
                <a:spcPts val="2646"/>
              </a:lnSpc>
              <a:buFontTx/>
              <a:buNone/>
              <a:defRPr sz="2205" spc="0"/>
            </a:lvl2pPr>
            <a:lvl3pPr marL="1008101" indent="0">
              <a:lnSpc>
                <a:spcPts val="2646"/>
              </a:lnSpc>
              <a:buFontTx/>
              <a:buNone/>
              <a:defRPr sz="2205" spc="0"/>
            </a:lvl3pPr>
            <a:lvl4pPr marL="1512152" indent="0">
              <a:lnSpc>
                <a:spcPts val="2646"/>
              </a:lnSpc>
              <a:buFontTx/>
              <a:buNone/>
              <a:defRPr sz="2205" spc="0"/>
            </a:lvl4pPr>
            <a:lvl5pPr marL="2016201" indent="0">
              <a:lnSpc>
                <a:spcPts val="2646"/>
              </a:lnSpc>
              <a:buFontTx/>
              <a:buNone/>
              <a:defRPr sz="2205" spc="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p>
        </p:txBody>
      </p:sp>
      <p:sp>
        <p:nvSpPr>
          <p:cNvPr id="12" name="Content Placeholder 11"/>
          <p:cNvSpPr>
            <a:spLocks noGrp="1"/>
          </p:cNvSpPr>
          <p:nvPr>
            <p:ph sz="quarter" idx="11"/>
          </p:nvPr>
        </p:nvSpPr>
        <p:spPr>
          <a:xfrm>
            <a:off x="992344" y="2579959"/>
            <a:ext cx="4983483" cy="4763000"/>
          </a:xfrm>
        </p:spPr>
        <p:txBody>
          <a:bodyPr/>
          <a:lstStyle/>
          <a:p>
            <a:pPr marL="252025" marR="0" lvl="0" indent="-252025" algn="l" defTabSz="1008101" rtl="0" eaLnBrk="1" fontAlgn="auto" latinLnBrk="0" hangingPunct="1">
              <a:lnSpc>
                <a:spcPts val="1544"/>
              </a:lnSpc>
              <a:spcBef>
                <a:spcPts val="1103"/>
              </a:spcBef>
              <a:spcAft>
                <a:spcPts val="0"/>
              </a:spcAft>
              <a:buClrTx/>
              <a:buSzTx/>
              <a:buFont typeface="Wingdings" charset="2"/>
              <a:buNone/>
              <a:tabLst/>
              <a:defRPr/>
            </a:pPr>
            <a:endParaRPr lang="en-US" dirty="0"/>
          </a:p>
        </p:txBody>
      </p:sp>
    </p:spTree>
    <p:extLst>
      <p:ext uri="{BB962C8B-B14F-4D97-AF65-F5344CB8AC3E}">
        <p14:creationId xmlns:p14="http://schemas.microsoft.com/office/powerpoint/2010/main" val="292851164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nk White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253937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4 column Information">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992344" y="2576430"/>
            <a:ext cx="2699175" cy="784131"/>
          </a:xfrm>
          <a:solidFill>
            <a:schemeClr val="tx2"/>
          </a:solidFill>
          <a:ln>
            <a:noFill/>
          </a:ln>
        </p:spPr>
        <p:txBody>
          <a:bodyPr anchor="ctr" anchorCtr="0"/>
          <a:lstStyle>
            <a:lvl1pPr marL="0" indent="0" algn="ctr">
              <a:lnSpc>
                <a:spcPts val="1985"/>
              </a:lnSpc>
              <a:buFontTx/>
              <a:buNone/>
              <a:defRPr sz="1764" b="1"/>
            </a:lvl1pPr>
            <a:lvl2pPr marL="504051" indent="0" algn="ctr">
              <a:buFontTx/>
              <a:buNone/>
              <a:defRPr sz="2095" b="1"/>
            </a:lvl2pPr>
            <a:lvl3pPr marL="1008101" indent="0" algn="ctr">
              <a:buFontTx/>
              <a:buNone/>
              <a:defRPr sz="2095" b="1"/>
            </a:lvl3pPr>
            <a:lvl4pPr marL="1512152" indent="0" algn="ctr">
              <a:buFontTx/>
              <a:buNone/>
              <a:defRPr sz="2095" b="1"/>
            </a:lvl4pPr>
            <a:lvl5pPr marL="2016201" indent="0" algn="ctr">
              <a:buFontTx/>
              <a:buNone/>
              <a:defRPr sz="2095" b="1"/>
            </a:lvl5pPr>
          </a:lstStyle>
          <a:p>
            <a:pPr lvl="0"/>
            <a:r>
              <a:rPr lang="en-US" dirty="0"/>
              <a:t>Heading</a:t>
            </a:r>
          </a:p>
        </p:txBody>
      </p:sp>
      <p:sp>
        <p:nvSpPr>
          <p:cNvPr id="8" name="Text Placeholder 6"/>
          <p:cNvSpPr>
            <a:spLocks noGrp="1"/>
          </p:cNvSpPr>
          <p:nvPr>
            <p:ph type="body" sz="quarter" idx="11" hasCustomPrompt="1"/>
          </p:nvPr>
        </p:nvSpPr>
        <p:spPr>
          <a:xfrm>
            <a:off x="3903219" y="2576430"/>
            <a:ext cx="2699175" cy="784131"/>
          </a:xfrm>
          <a:solidFill>
            <a:schemeClr val="tx1"/>
          </a:solidFill>
          <a:ln>
            <a:noFill/>
          </a:ln>
        </p:spPr>
        <p:txBody>
          <a:bodyPr anchor="ctr" anchorCtr="0"/>
          <a:lstStyle>
            <a:lvl1pPr marL="0" indent="0" algn="ctr">
              <a:lnSpc>
                <a:spcPts val="1985"/>
              </a:lnSpc>
              <a:buFontTx/>
              <a:buNone/>
              <a:defRPr sz="1764" b="1">
                <a:solidFill>
                  <a:schemeClr val="tx2"/>
                </a:solidFill>
              </a:defRPr>
            </a:lvl1pPr>
            <a:lvl2pPr marL="504051" indent="0" algn="ctr">
              <a:buFontTx/>
              <a:buNone/>
              <a:defRPr sz="2095" b="1"/>
            </a:lvl2pPr>
            <a:lvl3pPr marL="1008101" indent="0" algn="ctr">
              <a:buFontTx/>
              <a:buNone/>
              <a:defRPr sz="2095" b="1"/>
            </a:lvl3pPr>
            <a:lvl4pPr marL="1512152" indent="0" algn="ctr">
              <a:buFontTx/>
              <a:buNone/>
              <a:defRPr sz="2095" b="1"/>
            </a:lvl4pPr>
            <a:lvl5pPr marL="2016201" indent="0" algn="ctr">
              <a:buFontTx/>
              <a:buNone/>
              <a:defRPr sz="2095" b="1"/>
            </a:lvl5pPr>
          </a:lstStyle>
          <a:p>
            <a:pPr lvl="0"/>
            <a:r>
              <a:rPr lang="en-US" dirty="0"/>
              <a:t>Heading</a:t>
            </a:r>
          </a:p>
        </p:txBody>
      </p:sp>
      <p:sp>
        <p:nvSpPr>
          <p:cNvPr id="9" name="Text Placeholder 6"/>
          <p:cNvSpPr>
            <a:spLocks noGrp="1"/>
          </p:cNvSpPr>
          <p:nvPr>
            <p:ph type="body" sz="quarter" idx="12" hasCustomPrompt="1"/>
          </p:nvPr>
        </p:nvSpPr>
        <p:spPr>
          <a:xfrm>
            <a:off x="6814094" y="2576430"/>
            <a:ext cx="2699175" cy="784131"/>
          </a:xfrm>
          <a:solidFill>
            <a:schemeClr val="tx2"/>
          </a:solidFill>
          <a:ln>
            <a:noFill/>
          </a:ln>
        </p:spPr>
        <p:txBody>
          <a:bodyPr anchor="ctr" anchorCtr="0"/>
          <a:lstStyle>
            <a:lvl1pPr marL="0" indent="0" algn="ctr">
              <a:lnSpc>
                <a:spcPts val="1985"/>
              </a:lnSpc>
              <a:buFontTx/>
              <a:buNone/>
              <a:defRPr sz="1764" b="1">
                <a:solidFill>
                  <a:schemeClr val="tx1"/>
                </a:solidFill>
              </a:defRPr>
            </a:lvl1pPr>
            <a:lvl2pPr marL="504051" indent="0" algn="ctr">
              <a:buFontTx/>
              <a:buNone/>
              <a:defRPr sz="2095" b="1"/>
            </a:lvl2pPr>
            <a:lvl3pPr marL="1008101" indent="0" algn="ctr">
              <a:buFontTx/>
              <a:buNone/>
              <a:defRPr sz="2095" b="1"/>
            </a:lvl3pPr>
            <a:lvl4pPr marL="1512152" indent="0" algn="ctr">
              <a:buFontTx/>
              <a:buNone/>
              <a:defRPr sz="2095" b="1"/>
            </a:lvl4pPr>
            <a:lvl5pPr marL="2016201" indent="0" algn="ctr">
              <a:buFontTx/>
              <a:buNone/>
              <a:defRPr sz="2095" b="1"/>
            </a:lvl5pPr>
          </a:lstStyle>
          <a:p>
            <a:pPr lvl="0"/>
            <a:r>
              <a:rPr lang="en-US" dirty="0"/>
              <a:t>Heading</a:t>
            </a:r>
          </a:p>
        </p:txBody>
      </p:sp>
      <p:sp>
        <p:nvSpPr>
          <p:cNvPr id="10" name="Text Placeholder 6"/>
          <p:cNvSpPr>
            <a:spLocks noGrp="1"/>
          </p:cNvSpPr>
          <p:nvPr>
            <p:ph type="body" sz="quarter" idx="13" hasCustomPrompt="1"/>
          </p:nvPr>
        </p:nvSpPr>
        <p:spPr>
          <a:xfrm>
            <a:off x="9724969" y="2576430"/>
            <a:ext cx="2699175" cy="784131"/>
          </a:xfrm>
          <a:solidFill>
            <a:schemeClr val="tx1"/>
          </a:solidFill>
          <a:ln>
            <a:noFill/>
          </a:ln>
        </p:spPr>
        <p:txBody>
          <a:bodyPr anchor="ctr" anchorCtr="0"/>
          <a:lstStyle>
            <a:lvl1pPr marL="0" indent="0" algn="ctr">
              <a:lnSpc>
                <a:spcPts val="1985"/>
              </a:lnSpc>
              <a:buFontTx/>
              <a:buNone/>
              <a:defRPr sz="1764" b="1">
                <a:solidFill>
                  <a:schemeClr val="tx2"/>
                </a:solidFill>
              </a:defRPr>
            </a:lvl1pPr>
            <a:lvl2pPr marL="504051" indent="0" algn="ctr">
              <a:buFontTx/>
              <a:buNone/>
              <a:defRPr sz="2095" b="1"/>
            </a:lvl2pPr>
            <a:lvl3pPr marL="1008101" indent="0" algn="ctr">
              <a:buFontTx/>
              <a:buNone/>
              <a:defRPr sz="2095" b="1"/>
            </a:lvl3pPr>
            <a:lvl4pPr marL="1512152" indent="0" algn="ctr">
              <a:buFontTx/>
              <a:buNone/>
              <a:defRPr sz="2095" b="1"/>
            </a:lvl4pPr>
            <a:lvl5pPr marL="2016201" indent="0" algn="ctr">
              <a:buFontTx/>
              <a:buNone/>
              <a:defRPr sz="2095" b="1"/>
            </a:lvl5pPr>
          </a:lstStyle>
          <a:p>
            <a:pPr lvl="0"/>
            <a:r>
              <a:rPr lang="en-US" dirty="0"/>
              <a:t>Heading</a:t>
            </a:r>
          </a:p>
        </p:txBody>
      </p:sp>
      <p:sp>
        <p:nvSpPr>
          <p:cNvPr id="11" name="Title 1"/>
          <p:cNvSpPr>
            <a:spLocks noGrp="1"/>
          </p:cNvSpPr>
          <p:nvPr>
            <p:ph type="title" hasCustomPrompt="1"/>
          </p:nvPr>
        </p:nvSpPr>
        <p:spPr>
          <a:xfrm>
            <a:off x="992344" y="1071675"/>
            <a:ext cx="11908125" cy="1349517"/>
          </a:xfrm>
        </p:spPr>
        <p:txBody>
          <a:bodyPr anchor="t" anchorCtr="0"/>
          <a:lstStyle>
            <a:lvl1pPr>
              <a:lnSpc>
                <a:spcPts val="4631"/>
              </a:lnSpc>
              <a:defRPr sz="4851" b="1" spc="-166" baseline="0">
                <a:solidFill>
                  <a:schemeClr val="tx1"/>
                </a:solidFill>
              </a:defRPr>
            </a:lvl1pPr>
          </a:lstStyle>
          <a:p>
            <a:r>
              <a:rPr lang="en-GB" dirty="0"/>
              <a:t>Insert </a:t>
            </a:r>
            <a:r>
              <a:rPr lang="en-US" dirty="0"/>
              <a:t>text here</a:t>
            </a:r>
          </a:p>
        </p:txBody>
      </p:sp>
      <p:cxnSp>
        <p:nvCxnSpPr>
          <p:cNvPr id="15" name="Straight Connector 14"/>
          <p:cNvCxnSpPr/>
          <p:nvPr userDrawn="1"/>
        </p:nvCxnSpPr>
        <p:spPr>
          <a:xfrm>
            <a:off x="992344" y="3747757"/>
            <a:ext cx="269917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3903219" y="3747757"/>
            <a:ext cx="269917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6814094" y="3747757"/>
            <a:ext cx="269917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9724969" y="3747757"/>
            <a:ext cx="269917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0" name="Text Placeholder 9"/>
          <p:cNvSpPr>
            <a:spLocks noGrp="1"/>
          </p:cNvSpPr>
          <p:nvPr>
            <p:ph type="body" sz="quarter" idx="14"/>
          </p:nvPr>
        </p:nvSpPr>
        <p:spPr>
          <a:xfrm>
            <a:off x="992470" y="4134955"/>
            <a:ext cx="2699050" cy="3208005"/>
          </a:xfrm>
          <a:noFill/>
          <a:ln>
            <a:noFill/>
          </a:ln>
        </p:spPr>
        <p:txBody>
          <a:bodyPr/>
          <a:lstStyle>
            <a:lvl1pPr marL="378037" indent="-378037">
              <a:lnSpc>
                <a:spcPts val="2646"/>
              </a:lnSpc>
              <a:buClr>
                <a:schemeClr val="tx2"/>
              </a:buClr>
              <a:buSzPct val="120000"/>
              <a:buFont typeface="Wingdings" charset="2"/>
              <a:buChar char="§"/>
              <a:defRPr sz="2095" b="1" spc="0"/>
            </a:lvl1pPr>
            <a:lvl2pPr marL="504051" indent="0">
              <a:lnSpc>
                <a:spcPts val="2646"/>
              </a:lnSpc>
              <a:buFontTx/>
              <a:buNone/>
              <a:defRPr sz="2205" spc="0"/>
            </a:lvl2pPr>
            <a:lvl3pPr marL="1008101" indent="0">
              <a:lnSpc>
                <a:spcPts val="2646"/>
              </a:lnSpc>
              <a:buFontTx/>
              <a:buNone/>
              <a:defRPr sz="2205" spc="0"/>
            </a:lvl3pPr>
            <a:lvl4pPr marL="1512152" indent="0">
              <a:lnSpc>
                <a:spcPts val="2646"/>
              </a:lnSpc>
              <a:buFontTx/>
              <a:buNone/>
              <a:defRPr sz="2205" spc="0"/>
            </a:lvl4pPr>
            <a:lvl5pPr marL="2016201" indent="0">
              <a:lnSpc>
                <a:spcPts val="2646"/>
              </a:lnSpc>
              <a:buFontTx/>
              <a:buNone/>
              <a:defRPr sz="2205" spc="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p>
        </p:txBody>
      </p:sp>
      <p:sp>
        <p:nvSpPr>
          <p:cNvPr id="21" name="Text Placeholder 9"/>
          <p:cNvSpPr>
            <a:spLocks noGrp="1"/>
          </p:cNvSpPr>
          <p:nvPr>
            <p:ph type="body" sz="quarter" idx="15"/>
          </p:nvPr>
        </p:nvSpPr>
        <p:spPr>
          <a:xfrm>
            <a:off x="3903304" y="4134955"/>
            <a:ext cx="2699050" cy="3208005"/>
          </a:xfrm>
          <a:noFill/>
          <a:ln>
            <a:noFill/>
          </a:ln>
        </p:spPr>
        <p:txBody>
          <a:bodyPr/>
          <a:lstStyle>
            <a:lvl1pPr marL="378037" indent="-378037">
              <a:lnSpc>
                <a:spcPts val="2646"/>
              </a:lnSpc>
              <a:buClr>
                <a:schemeClr val="tx2"/>
              </a:buClr>
              <a:buSzPct val="120000"/>
              <a:buFont typeface="Wingdings" charset="2"/>
              <a:buChar char="§"/>
              <a:defRPr sz="2095" b="1" spc="0"/>
            </a:lvl1pPr>
            <a:lvl2pPr marL="504051" indent="0">
              <a:lnSpc>
                <a:spcPts val="2646"/>
              </a:lnSpc>
              <a:buFontTx/>
              <a:buNone/>
              <a:defRPr sz="2205" spc="0"/>
            </a:lvl2pPr>
            <a:lvl3pPr marL="1008101" indent="0">
              <a:lnSpc>
                <a:spcPts val="2646"/>
              </a:lnSpc>
              <a:buFontTx/>
              <a:buNone/>
              <a:defRPr sz="2205" spc="0"/>
            </a:lvl3pPr>
            <a:lvl4pPr marL="1512152" indent="0">
              <a:lnSpc>
                <a:spcPts val="2646"/>
              </a:lnSpc>
              <a:buFontTx/>
              <a:buNone/>
              <a:defRPr sz="2205" spc="0"/>
            </a:lvl4pPr>
            <a:lvl5pPr marL="2016201" indent="0">
              <a:lnSpc>
                <a:spcPts val="2646"/>
              </a:lnSpc>
              <a:buFontTx/>
              <a:buNone/>
              <a:defRPr sz="2205" spc="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p>
        </p:txBody>
      </p:sp>
      <p:sp>
        <p:nvSpPr>
          <p:cNvPr id="22" name="Text Placeholder 9"/>
          <p:cNvSpPr>
            <a:spLocks noGrp="1"/>
          </p:cNvSpPr>
          <p:nvPr>
            <p:ph type="body" sz="quarter" idx="16"/>
          </p:nvPr>
        </p:nvSpPr>
        <p:spPr>
          <a:xfrm>
            <a:off x="6814136" y="4134955"/>
            <a:ext cx="2699050" cy="3208005"/>
          </a:xfrm>
          <a:noFill/>
          <a:ln>
            <a:noFill/>
          </a:ln>
        </p:spPr>
        <p:txBody>
          <a:bodyPr/>
          <a:lstStyle>
            <a:lvl1pPr marL="378037" indent="-378037">
              <a:lnSpc>
                <a:spcPts val="2646"/>
              </a:lnSpc>
              <a:buClr>
                <a:schemeClr val="tx2"/>
              </a:buClr>
              <a:buSzPct val="120000"/>
              <a:buFont typeface="Wingdings" charset="2"/>
              <a:buChar char="§"/>
              <a:defRPr sz="2095" b="1" spc="0"/>
            </a:lvl1pPr>
            <a:lvl2pPr marL="504051" indent="0">
              <a:lnSpc>
                <a:spcPts val="2646"/>
              </a:lnSpc>
              <a:buFontTx/>
              <a:buNone/>
              <a:defRPr sz="2205" spc="0"/>
            </a:lvl2pPr>
            <a:lvl3pPr marL="1008101" indent="0">
              <a:lnSpc>
                <a:spcPts val="2646"/>
              </a:lnSpc>
              <a:buFontTx/>
              <a:buNone/>
              <a:defRPr sz="2205" spc="0"/>
            </a:lvl3pPr>
            <a:lvl4pPr marL="1512152" indent="0">
              <a:lnSpc>
                <a:spcPts val="2646"/>
              </a:lnSpc>
              <a:buFontTx/>
              <a:buNone/>
              <a:defRPr sz="2205" spc="0"/>
            </a:lvl4pPr>
            <a:lvl5pPr marL="2016201" indent="0">
              <a:lnSpc>
                <a:spcPts val="2646"/>
              </a:lnSpc>
              <a:buFontTx/>
              <a:buNone/>
              <a:defRPr sz="2205" spc="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p>
        </p:txBody>
      </p:sp>
      <p:sp>
        <p:nvSpPr>
          <p:cNvPr id="23" name="Text Placeholder 9"/>
          <p:cNvSpPr>
            <a:spLocks noGrp="1"/>
          </p:cNvSpPr>
          <p:nvPr>
            <p:ph type="body" sz="quarter" idx="17"/>
          </p:nvPr>
        </p:nvSpPr>
        <p:spPr>
          <a:xfrm>
            <a:off x="9724972" y="4134955"/>
            <a:ext cx="2699050" cy="3208005"/>
          </a:xfrm>
          <a:noFill/>
          <a:ln>
            <a:noFill/>
          </a:ln>
        </p:spPr>
        <p:txBody>
          <a:bodyPr/>
          <a:lstStyle>
            <a:lvl1pPr marL="378037" indent="-378037">
              <a:lnSpc>
                <a:spcPts val="2646"/>
              </a:lnSpc>
              <a:buClr>
                <a:schemeClr val="tx2"/>
              </a:buClr>
              <a:buSzPct val="120000"/>
              <a:buFont typeface="Wingdings" charset="2"/>
              <a:buChar char="§"/>
              <a:defRPr sz="2095" b="1" spc="0"/>
            </a:lvl1pPr>
            <a:lvl2pPr marL="504051" indent="0">
              <a:lnSpc>
                <a:spcPts val="2646"/>
              </a:lnSpc>
              <a:buFontTx/>
              <a:buNone/>
              <a:defRPr sz="2205" spc="0"/>
            </a:lvl2pPr>
            <a:lvl3pPr marL="1008101" indent="0">
              <a:lnSpc>
                <a:spcPts val="2646"/>
              </a:lnSpc>
              <a:buFontTx/>
              <a:buNone/>
              <a:defRPr sz="2205" spc="0"/>
            </a:lvl3pPr>
            <a:lvl4pPr marL="1512152" indent="0">
              <a:lnSpc>
                <a:spcPts val="2646"/>
              </a:lnSpc>
              <a:buFontTx/>
              <a:buNone/>
              <a:defRPr sz="2205" spc="0"/>
            </a:lvl4pPr>
            <a:lvl5pPr marL="2016201" indent="0">
              <a:lnSpc>
                <a:spcPts val="2646"/>
              </a:lnSpc>
              <a:buFontTx/>
              <a:buNone/>
              <a:defRPr sz="2205" spc="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p>
        </p:txBody>
      </p:sp>
    </p:spTree>
    <p:extLst>
      <p:ext uri="{BB962C8B-B14F-4D97-AF65-F5344CB8AC3E}">
        <p14:creationId xmlns:p14="http://schemas.microsoft.com/office/powerpoint/2010/main" val="49601169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uilding your Team of specialists">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992468" y="2540267"/>
            <a:ext cx="1746525" cy="1746433"/>
          </a:xfrm>
        </p:spPr>
        <p:txBody>
          <a:bodyPr/>
          <a:lstStyle/>
          <a:p>
            <a:endParaRPr lang="en-US"/>
          </a:p>
        </p:txBody>
      </p:sp>
      <p:sp>
        <p:nvSpPr>
          <p:cNvPr id="8" name="Text Placeholder 7"/>
          <p:cNvSpPr>
            <a:spLocks noGrp="1"/>
          </p:cNvSpPr>
          <p:nvPr>
            <p:ph type="body" sz="quarter" idx="11" hasCustomPrompt="1"/>
          </p:nvPr>
        </p:nvSpPr>
        <p:spPr>
          <a:xfrm>
            <a:off x="992470" y="4286468"/>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9" name="Text Placeholder 7"/>
          <p:cNvSpPr>
            <a:spLocks noGrp="1"/>
          </p:cNvSpPr>
          <p:nvPr>
            <p:ph type="body" sz="quarter" idx="12" hasCustomPrompt="1"/>
          </p:nvPr>
        </p:nvSpPr>
        <p:spPr>
          <a:xfrm>
            <a:off x="992470" y="4479487"/>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10" name="Picture Placeholder 4"/>
          <p:cNvSpPr>
            <a:spLocks noGrp="1"/>
          </p:cNvSpPr>
          <p:nvPr>
            <p:ph type="pic" sz="quarter" idx="13"/>
          </p:nvPr>
        </p:nvSpPr>
        <p:spPr>
          <a:xfrm>
            <a:off x="3413663" y="2540267"/>
            <a:ext cx="1746525" cy="1746433"/>
          </a:xfrm>
        </p:spPr>
        <p:txBody>
          <a:bodyPr/>
          <a:lstStyle/>
          <a:p>
            <a:endParaRPr lang="en-US"/>
          </a:p>
        </p:txBody>
      </p:sp>
      <p:sp>
        <p:nvSpPr>
          <p:cNvPr id="11" name="Text Placeholder 7"/>
          <p:cNvSpPr>
            <a:spLocks noGrp="1"/>
          </p:cNvSpPr>
          <p:nvPr>
            <p:ph type="body" sz="quarter" idx="14" hasCustomPrompt="1"/>
          </p:nvPr>
        </p:nvSpPr>
        <p:spPr>
          <a:xfrm>
            <a:off x="3413663" y="4286468"/>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12" name="Text Placeholder 7"/>
          <p:cNvSpPr>
            <a:spLocks noGrp="1"/>
          </p:cNvSpPr>
          <p:nvPr>
            <p:ph type="body" sz="quarter" idx="15" hasCustomPrompt="1"/>
          </p:nvPr>
        </p:nvSpPr>
        <p:spPr>
          <a:xfrm>
            <a:off x="3413663" y="4479487"/>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13" name="Picture Placeholder 4"/>
          <p:cNvSpPr>
            <a:spLocks noGrp="1"/>
          </p:cNvSpPr>
          <p:nvPr>
            <p:ph type="pic" sz="quarter" idx="16"/>
          </p:nvPr>
        </p:nvSpPr>
        <p:spPr>
          <a:xfrm>
            <a:off x="5834981" y="2540267"/>
            <a:ext cx="1746525" cy="1746433"/>
          </a:xfrm>
        </p:spPr>
        <p:txBody>
          <a:bodyPr/>
          <a:lstStyle/>
          <a:p>
            <a:endParaRPr lang="en-US"/>
          </a:p>
        </p:txBody>
      </p:sp>
      <p:sp>
        <p:nvSpPr>
          <p:cNvPr id="14" name="Text Placeholder 7"/>
          <p:cNvSpPr>
            <a:spLocks noGrp="1"/>
          </p:cNvSpPr>
          <p:nvPr>
            <p:ph type="body" sz="quarter" idx="17" hasCustomPrompt="1"/>
          </p:nvPr>
        </p:nvSpPr>
        <p:spPr>
          <a:xfrm>
            <a:off x="5834982" y="4286468"/>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15" name="Text Placeholder 7"/>
          <p:cNvSpPr>
            <a:spLocks noGrp="1"/>
          </p:cNvSpPr>
          <p:nvPr>
            <p:ph type="body" sz="quarter" idx="18" hasCustomPrompt="1"/>
          </p:nvPr>
        </p:nvSpPr>
        <p:spPr>
          <a:xfrm>
            <a:off x="5834982" y="4479487"/>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16" name="Picture Placeholder 4"/>
          <p:cNvSpPr>
            <a:spLocks noGrp="1"/>
          </p:cNvSpPr>
          <p:nvPr>
            <p:ph type="pic" sz="quarter" idx="19"/>
          </p:nvPr>
        </p:nvSpPr>
        <p:spPr>
          <a:xfrm>
            <a:off x="8256300" y="2540267"/>
            <a:ext cx="1746525" cy="1746433"/>
          </a:xfrm>
        </p:spPr>
        <p:txBody>
          <a:bodyPr/>
          <a:lstStyle/>
          <a:p>
            <a:endParaRPr lang="en-US"/>
          </a:p>
        </p:txBody>
      </p:sp>
      <p:sp>
        <p:nvSpPr>
          <p:cNvPr id="17" name="Text Placeholder 7"/>
          <p:cNvSpPr>
            <a:spLocks noGrp="1"/>
          </p:cNvSpPr>
          <p:nvPr>
            <p:ph type="body" sz="quarter" idx="20" hasCustomPrompt="1"/>
          </p:nvPr>
        </p:nvSpPr>
        <p:spPr>
          <a:xfrm>
            <a:off x="8256301" y="4286468"/>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18" name="Text Placeholder 7"/>
          <p:cNvSpPr>
            <a:spLocks noGrp="1"/>
          </p:cNvSpPr>
          <p:nvPr>
            <p:ph type="body" sz="quarter" idx="21" hasCustomPrompt="1"/>
          </p:nvPr>
        </p:nvSpPr>
        <p:spPr>
          <a:xfrm>
            <a:off x="8256301" y="4479487"/>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19" name="Picture Placeholder 4"/>
          <p:cNvSpPr>
            <a:spLocks noGrp="1"/>
          </p:cNvSpPr>
          <p:nvPr>
            <p:ph type="pic" sz="quarter" idx="22"/>
          </p:nvPr>
        </p:nvSpPr>
        <p:spPr>
          <a:xfrm>
            <a:off x="10678832" y="2540267"/>
            <a:ext cx="1746525" cy="1746433"/>
          </a:xfrm>
        </p:spPr>
        <p:txBody>
          <a:bodyPr/>
          <a:lstStyle/>
          <a:p>
            <a:endParaRPr lang="en-US"/>
          </a:p>
        </p:txBody>
      </p:sp>
      <p:sp>
        <p:nvSpPr>
          <p:cNvPr id="20" name="Text Placeholder 7"/>
          <p:cNvSpPr>
            <a:spLocks noGrp="1"/>
          </p:cNvSpPr>
          <p:nvPr>
            <p:ph type="body" sz="quarter" idx="23" hasCustomPrompt="1"/>
          </p:nvPr>
        </p:nvSpPr>
        <p:spPr>
          <a:xfrm>
            <a:off x="10678832" y="4286468"/>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21" name="Text Placeholder 7"/>
          <p:cNvSpPr>
            <a:spLocks noGrp="1"/>
          </p:cNvSpPr>
          <p:nvPr>
            <p:ph type="body" sz="quarter" idx="24" hasCustomPrompt="1"/>
          </p:nvPr>
        </p:nvSpPr>
        <p:spPr>
          <a:xfrm>
            <a:off x="10678832" y="4479487"/>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22" name="Picture Placeholder 4"/>
          <p:cNvSpPr>
            <a:spLocks noGrp="1"/>
          </p:cNvSpPr>
          <p:nvPr>
            <p:ph type="pic" sz="quarter" idx="25"/>
          </p:nvPr>
        </p:nvSpPr>
        <p:spPr>
          <a:xfrm>
            <a:off x="992468" y="4906662"/>
            <a:ext cx="1746525" cy="1746433"/>
          </a:xfrm>
        </p:spPr>
        <p:txBody>
          <a:bodyPr/>
          <a:lstStyle/>
          <a:p>
            <a:endParaRPr lang="en-US"/>
          </a:p>
        </p:txBody>
      </p:sp>
      <p:sp>
        <p:nvSpPr>
          <p:cNvPr id="23" name="Text Placeholder 7"/>
          <p:cNvSpPr>
            <a:spLocks noGrp="1"/>
          </p:cNvSpPr>
          <p:nvPr>
            <p:ph type="body" sz="quarter" idx="26" hasCustomPrompt="1"/>
          </p:nvPr>
        </p:nvSpPr>
        <p:spPr>
          <a:xfrm>
            <a:off x="992470" y="6652863"/>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24" name="Text Placeholder 7"/>
          <p:cNvSpPr>
            <a:spLocks noGrp="1"/>
          </p:cNvSpPr>
          <p:nvPr>
            <p:ph type="body" sz="quarter" idx="27" hasCustomPrompt="1"/>
          </p:nvPr>
        </p:nvSpPr>
        <p:spPr>
          <a:xfrm>
            <a:off x="992470" y="6845882"/>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25" name="Picture Placeholder 4"/>
          <p:cNvSpPr>
            <a:spLocks noGrp="1"/>
          </p:cNvSpPr>
          <p:nvPr>
            <p:ph type="pic" sz="quarter" idx="28"/>
          </p:nvPr>
        </p:nvSpPr>
        <p:spPr>
          <a:xfrm>
            <a:off x="3413663" y="4906662"/>
            <a:ext cx="1746525" cy="1746433"/>
          </a:xfrm>
        </p:spPr>
        <p:txBody>
          <a:bodyPr/>
          <a:lstStyle/>
          <a:p>
            <a:endParaRPr lang="en-US"/>
          </a:p>
        </p:txBody>
      </p:sp>
      <p:sp>
        <p:nvSpPr>
          <p:cNvPr id="26" name="Text Placeholder 7"/>
          <p:cNvSpPr>
            <a:spLocks noGrp="1"/>
          </p:cNvSpPr>
          <p:nvPr>
            <p:ph type="body" sz="quarter" idx="29" hasCustomPrompt="1"/>
          </p:nvPr>
        </p:nvSpPr>
        <p:spPr>
          <a:xfrm>
            <a:off x="3413663" y="6652863"/>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27" name="Text Placeholder 7"/>
          <p:cNvSpPr>
            <a:spLocks noGrp="1"/>
          </p:cNvSpPr>
          <p:nvPr>
            <p:ph type="body" sz="quarter" idx="30" hasCustomPrompt="1"/>
          </p:nvPr>
        </p:nvSpPr>
        <p:spPr>
          <a:xfrm>
            <a:off x="3413663" y="6845882"/>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28" name="Picture Placeholder 4"/>
          <p:cNvSpPr>
            <a:spLocks noGrp="1"/>
          </p:cNvSpPr>
          <p:nvPr>
            <p:ph type="pic" sz="quarter" idx="31"/>
          </p:nvPr>
        </p:nvSpPr>
        <p:spPr>
          <a:xfrm>
            <a:off x="5834981" y="4906662"/>
            <a:ext cx="1746525" cy="1746433"/>
          </a:xfrm>
        </p:spPr>
        <p:txBody>
          <a:bodyPr/>
          <a:lstStyle/>
          <a:p>
            <a:endParaRPr lang="en-US"/>
          </a:p>
        </p:txBody>
      </p:sp>
      <p:sp>
        <p:nvSpPr>
          <p:cNvPr id="29" name="Text Placeholder 7"/>
          <p:cNvSpPr>
            <a:spLocks noGrp="1"/>
          </p:cNvSpPr>
          <p:nvPr>
            <p:ph type="body" sz="quarter" idx="32" hasCustomPrompt="1"/>
          </p:nvPr>
        </p:nvSpPr>
        <p:spPr>
          <a:xfrm>
            <a:off x="5834982" y="6652863"/>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30" name="Text Placeholder 7"/>
          <p:cNvSpPr>
            <a:spLocks noGrp="1"/>
          </p:cNvSpPr>
          <p:nvPr>
            <p:ph type="body" sz="quarter" idx="33" hasCustomPrompt="1"/>
          </p:nvPr>
        </p:nvSpPr>
        <p:spPr>
          <a:xfrm>
            <a:off x="5834982" y="6845882"/>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31" name="Picture Placeholder 4"/>
          <p:cNvSpPr>
            <a:spLocks noGrp="1"/>
          </p:cNvSpPr>
          <p:nvPr>
            <p:ph type="pic" sz="quarter" idx="34"/>
          </p:nvPr>
        </p:nvSpPr>
        <p:spPr>
          <a:xfrm>
            <a:off x="8256300" y="4906662"/>
            <a:ext cx="1746525" cy="1746433"/>
          </a:xfrm>
        </p:spPr>
        <p:txBody>
          <a:bodyPr/>
          <a:lstStyle/>
          <a:p>
            <a:endParaRPr lang="en-US"/>
          </a:p>
        </p:txBody>
      </p:sp>
      <p:sp>
        <p:nvSpPr>
          <p:cNvPr id="32" name="Text Placeholder 7"/>
          <p:cNvSpPr>
            <a:spLocks noGrp="1"/>
          </p:cNvSpPr>
          <p:nvPr>
            <p:ph type="body" sz="quarter" idx="35" hasCustomPrompt="1"/>
          </p:nvPr>
        </p:nvSpPr>
        <p:spPr>
          <a:xfrm>
            <a:off x="8256301" y="6652863"/>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33" name="Text Placeholder 7"/>
          <p:cNvSpPr>
            <a:spLocks noGrp="1"/>
          </p:cNvSpPr>
          <p:nvPr>
            <p:ph type="body" sz="quarter" idx="36" hasCustomPrompt="1"/>
          </p:nvPr>
        </p:nvSpPr>
        <p:spPr>
          <a:xfrm>
            <a:off x="8256301" y="6845882"/>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34" name="Picture Placeholder 4"/>
          <p:cNvSpPr>
            <a:spLocks noGrp="1"/>
          </p:cNvSpPr>
          <p:nvPr>
            <p:ph type="pic" sz="quarter" idx="37"/>
          </p:nvPr>
        </p:nvSpPr>
        <p:spPr>
          <a:xfrm>
            <a:off x="10678832" y="4906662"/>
            <a:ext cx="1746525" cy="1746433"/>
          </a:xfrm>
        </p:spPr>
        <p:txBody>
          <a:bodyPr/>
          <a:lstStyle/>
          <a:p>
            <a:endParaRPr lang="en-US"/>
          </a:p>
        </p:txBody>
      </p:sp>
      <p:sp>
        <p:nvSpPr>
          <p:cNvPr id="35" name="Text Placeholder 7"/>
          <p:cNvSpPr>
            <a:spLocks noGrp="1"/>
          </p:cNvSpPr>
          <p:nvPr>
            <p:ph type="body" sz="quarter" idx="38" hasCustomPrompt="1"/>
          </p:nvPr>
        </p:nvSpPr>
        <p:spPr>
          <a:xfrm>
            <a:off x="10678832" y="6652863"/>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36" name="Text Placeholder 7"/>
          <p:cNvSpPr>
            <a:spLocks noGrp="1"/>
          </p:cNvSpPr>
          <p:nvPr>
            <p:ph type="body" sz="quarter" idx="39" hasCustomPrompt="1"/>
          </p:nvPr>
        </p:nvSpPr>
        <p:spPr>
          <a:xfrm>
            <a:off x="10678832" y="6845882"/>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38" name="TextBox 37"/>
          <p:cNvSpPr txBox="1"/>
          <p:nvPr userDrawn="1"/>
        </p:nvSpPr>
        <p:spPr>
          <a:xfrm>
            <a:off x="992345" y="1071675"/>
            <a:ext cx="11535739" cy="1179810"/>
          </a:xfrm>
          <a:prstGeom prst="rect">
            <a:avLst/>
          </a:prstGeom>
          <a:noFill/>
        </p:spPr>
        <p:txBody>
          <a:bodyPr wrap="square" lIns="0" tIns="0" rIns="0" bIns="0" rtlCol="0">
            <a:spAutoFit/>
          </a:bodyPr>
          <a:lstStyle/>
          <a:p>
            <a:pPr>
              <a:lnSpc>
                <a:spcPts val="4631"/>
              </a:lnSpc>
            </a:pPr>
            <a:r>
              <a:rPr lang="en-US" sz="4851" b="1" dirty="0">
                <a:latin typeface="Helvetica" charset="0"/>
                <a:ea typeface="Helvetica" charset="0"/>
                <a:cs typeface="Helvetica" charset="0"/>
              </a:rPr>
              <a:t>Building your team</a:t>
            </a:r>
            <a:br>
              <a:rPr lang="en-US" sz="4851" b="1" dirty="0">
                <a:latin typeface="Helvetica" charset="0"/>
                <a:ea typeface="Helvetica" charset="0"/>
                <a:cs typeface="Helvetica" charset="0"/>
              </a:rPr>
            </a:br>
            <a:r>
              <a:rPr lang="en-US" sz="4851" b="1" dirty="0">
                <a:latin typeface="Helvetica" charset="0"/>
                <a:ea typeface="Helvetica" charset="0"/>
                <a:cs typeface="Helvetica" charset="0"/>
              </a:rPr>
              <a:t>of specialists</a:t>
            </a:r>
            <a:endParaRPr lang="en-US" sz="4851" b="1" kern="1200" dirty="0">
              <a:solidFill>
                <a:schemeClr val="tx1"/>
              </a:solidFill>
              <a:effectLst/>
              <a:latin typeface="Helvetica" charset="0"/>
              <a:ea typeface="Helvetica" charset="0"/>
              <a:cs typeface="Helvetica" charset="0"/>
            </a:endParaRPr>
          </a:p>
        </p:txBody>
      </p:sp>
    </p:spTree>
    <p:extLst>
      <p:ext uri="{BB962C8B-B14F-4D97-AF65-F5344CB8AC3E}">
        <p14:creationId xmlns:p14="http://schemas.microsoft.com/office/powerpoint/2010/main" val="364609141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Statement Slide black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2344" y="1428899"/>
            <a:ext cx="11908125" cy="4683617"/>
          </a:xfrm>
        </p:spPr>
        <p:txBody>
          <a:bodyPr anchor="ctr" anchorCtr="0"/>
          <a:lstStyle>
            <a:lvl1pPr>
              <a:lnSpc>
                <a:spcPts val="6064"/>
              </a:lnSpc>
              <a:defRPr sz="6505" b="1" spc="-166" baseline="0">
                <a:solidFill>
                  <a:schemeClr val="tx2"/>
                </a:solidFill>
              </a:defRPr>
            </a:lvl1pPr>
          </a:lstStyle>
          <a:p>
            <a:r>
              <a:rPr lang="en-US" dirty="0"/>
              <a:t>Statement slide </a:t>
            </a:r>
            <a:r>
              <a:rPr lang="mr-IN" dirty="0"/>
              <a:t>–</a:t>
            </a:r>
            <a:r>
              <a:rPr lang="en-US" dirty="0"/>
              <a:t> insert text her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88374" cy="988323"/>
          </a:xfrm>
          <a:prstGeom prst="rect">
            <a:avLst/>
          </a:prstGeom>
        </p:spPr>
      </p:pic>
    </p:spTree>
    <p:extLst>
      <p:ext uri="{BB962C8B-B14F-4D97-AF65-F5344CB8AC3E}">
        <p14:creationId xmlns:p14="http://schemas.microsoft.com/office/powerpoint/2010/main" val="40953568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7870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632738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79728"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458615"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79423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395414"/>
            <a:ext cx="10555362" cy="4300537"/>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8075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3942584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8177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257652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82800"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1086650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8382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5"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1073051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6"/>
            <a:ext cx="13442950"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5"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4292190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8484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5"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2246147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8587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2341313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8689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5" y="1395415"/>
            <a:ext cx="10555363"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1499246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8792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5"/>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2486615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6"/>
            <a:ext cx="13442950"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395415"/>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89257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2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a:ext>
            </a:extLst>
          </a:blip>
          <a:srcRect l="2459" t="3595" r="68462" b="84596"/>
          <a:stretch/>
        </p:blipFill>
        <p:spPr>
          <a:xfrm>
            <a:off x="0" y="195941"/>
            <a:ext cx="3545263" cy="809897"/>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529"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3" name="Picture 12"/>
          <p:cNvPicPr>
            <a:picLocks noChangeAspect="1"/>
          </p:cNvPicPr>
          <p:nvPr userDrawn="1"/>
        </p:nvPicPr>
        <p:blipFill rotWithShape="1">
          <a:blip r:embed="rId6" cstate="print">
            <a:alphaModFix/>
            <a:extLst>
              <a:ext uri="{28A0092B-C50C-407E-A947-70E740481C1C}">
                <a14:useLocalDpi xmlns:a14="http://schemas.microsoft.com/office/drawing/2010/main"/>
              </a:ext>
            </a:extLst>
          </a:blip>
          <a:srcRect l="2459" t="6436" r="69250" b="88379"/>
          <a:stretch/>
        </p:blipFill>
        <p:spPr>
          <a:xfrm>
            <a:off x="0" y="390524"/>
            <a:ext cx="3449240" cy="355601"/>
          </a:xfrm>
          <a:prstGeom prst="rect">
            <a:avLst/>
          </a:prstGeom>
        </p:spPr>
      </p:pic>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57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23207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6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4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553"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2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178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79921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69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4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1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74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76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78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81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838"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49"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211"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82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802393"/>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93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055"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cxnSp>
        <p:nvCxnSpPr>
          <p:cNvPr id="7" name="Straight Connector 6"/>
          <p:cNvCxnSpPr/>
          <p:nvPr userDrawn="1"/>
        </p:nvCxnSpPr>
        <p:spPr bwMode="gray">
          <a:xfrm>
            <a:off x="1" y="6792023"/>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9"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08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5148264"/>
            <a:ext cx="4670102" cy="176847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9" hasCustomPrompt="1"/>
          </p:nvPr>
        </p:nvSpPr>
        <p:spPr bwMode="gray">
          <a:xfrm>
            <a:off x="352267" y="5226050"/>
            <a:ext cx="4173879" cy="1460500"/>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5" name="Straight Connector 14"/>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103"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43364"/>
            <a:ext cx="4670102"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9" hasCustomPrompt="1"/>
          </p:nvPr>
        </p:nvSpPr>
        <p:spPr bwMode="gray">
          <a:xfrm>
            <a:off x="355657" y="4102418"/>
            <a:ext cx="4170490" cy="246729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3" name="Straight Connector 12"/>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12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3" name="Picture 12"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14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Rectangle 15"/>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hasCustomPrompt="1"/>
          </p:nvPr>
        </p:nvSpPr>
        <p:spPr bwMode="gray">
          <a:xfrm>
            <a:off x="381060" y="1395414"/>
            <a:ext cx="12695650" cy="5407025"/>
          </a:xfrm>
          <a:solidFill>
            <a:srgbClr val="DFDEDE"/>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17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0" y="1395413"/>
            <a:ext cx="12695650" cy="4854575"/>
          </a:xfrm>
          <a:solidFill>
            <a:srgbClr val="DFDEDE"/>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54208" y="6338248"/>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54208" y="6515700"/>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hasCustomPrompt="1"/>
          </p:nvPr>
        </p:nvSpPr>
        <p:spPr bwMode="gray">
          <a:xfrm>
            <a:off x="381060" y="1395414"/>
            <a:ext cx="12695650" cy="5407025"/>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224"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0" name="Rectangle 19"/>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7" name="Text Placeholder 16"/>
          <p:cNvSpPr>
            <a:spLocks noGrp="1"/>
          </p:cNvSpPr>
          <p:nvPr>
            <p:ph type="body" sz="quarter" idx="20"/>
          </p:nvPr>
        </p:nvSpPr>
        <p:spPr bwMode="gray">
          <a:xfrm>
            <a:off x="-1" y="5148264"/>
            <a:ext cx="4670102" cy="1654174"/>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2"/>
          <p:cNvSpPr>
            <a:spLocks noGrp="1"/>
          </p:cNvSpPr>
          <p:nvPr>
            <p:ph idx="19" hasCustomPrompt="1"/>
          </p:nvPr>
        </p:nvSpPr>
        <p:spPr bwMode="gray">
          <a:xfrm>
            <a:off x="381061" y="5218430"/>
            <a:ext cx="4145086" cy="1031558"/>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248"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hasCustomPrompt="1"/>
          </p:nvPr>
        </p:nvSpPr>
        <p:spPr bwMode="gray">
          <a:xfrm>
            <a:off x="381060" y="1395414"/>
            <a:ext cx="12695650" cy="5397272"/>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0" name="Text Placeholder 16"/>
          <p:cNvSpPr>
            <a:spLocks noGrp="1"/>
          </p:cNvSpPr>
          <p:nvPr>
            <p:ph type="body" sz="quarter" idx="20"/>
          </p:nvPr>
        </p:nvSpPr>
        <p:spPr bwMode="gray">
          <a:xfrm>
            <a:off x="1" y="4043364"/>
            <a:ext cx="4670102"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2"/>
          <p:cNvSpPr>
            <a:spLocks noGrp="1"/>
          </p:cNvSpPr>
          <p:nvPr>
            <p:ph idx="19" hasCustomPrompt="1"/>
          </p:nvPr>
        </p:nvSpPr>
        <p:spPr bwMode="gray">
          <a:xfrm>
            <a:off x="367041" y="4148139"/>
            <a:ext cx="4159104" cy="154781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26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6" y="15849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2545" y="1895312"/>
            <a:ext cx="4148197" cy="4354677"/>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Picture Placeholder 13"/>
          <p:cNvSpPr>
            <a:spLocks noGrp="1"/>
          </p:cNvSpPr>
          <p:nvPr>
            <p:ph type="pic" sz="quarter" idx="18" hasCustomPrompt="1"/>
          </p:nvPr>
        </p:nvSpPr>
        <p:spPr bwMode="gray">
          <a:xfrm>
            <a:off x="4670103" y="1395413"/>
            <a:ext cx="8406608" cy="4854576"/>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8588"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13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29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59" y="1395413"/>
            <a:ext cx="4119682"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60736"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60736" y="6265909"/>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4671689" y="1395413"/>
            <a:ext cx="4113860"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5" name="Text Placeholder 13"/>
          <p:cNvSpPr>
            <a:spLocks noGrp="1"/>
          </p:cNvSpPr>
          <p:nvPr>
            <p:ph type="body" sz="quarter" idx="20" hasCustomPrompt="1"/>
          </p:nvPr>
        </p:nvSpPr>
        <p:spPr bwMode="gray">
          <a:xfrm>
            <a:off x="4656786"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56786"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8946441" y="1395413"/>
            <a:ext cx="4130268"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8" name="Text Placeholder 13"/>
          <p:cNvSpPr>
            <a:spLocks noGrp="1"/>
          </p:cNvSpPr>
          <p:nvPr>
            <p:ph type="body" sz="quarter" idx="23" hasCustomPrompt="1"/>
          </p:nvPr>
        </p:nvSpPr>
        <p:spPr bwMode="gray">
          <a:xfrm>
            <a:off x="8911094"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11094"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319"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0" y="1704525"/>
            <a:ext cx="1992098"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Text Placeholder 13"/>
          <p:cNvSpPr>
            <a:spLocks noGrp="1"/>
          </p:cNvSpPr>
          <p:nvPr>
            <p:ph type="body" sz="quarter" idx="17" hasCustomPrompt="1"/>
          </p:nvPr>
        </p:nvSpPr>
        <p:spPr bwMode="gray">
          <a:xfrm>
            <a:off x="381060" y="4134929"/>
            <a:ext cx="1992098" cy="248390"/>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5" name="Text Placeholder 13"/>
          <p:cNvSpPr>
            <a:spLocks noGrp="1"/>
          </p:cNvSpPr>
          <p:nvPr>
            <p:ph type="body" sz="quarter" idx="18" hasCustomPrompt="1"/>
          </p:nvPr>
        </p:nvSpPr>
        <p:spPr bwMode="gray">
          <a:xfrm>
            <a:off x="381061" y="4312382"/>
            <a:ext cx="1987378"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7" name="Picture Placeholder 13"/>
          <p:cNvSpPr>
            <a:spLocks noGrp="1"/>
          </p:cNvSpPr>
          <p:nvPr>
            <p:ph type="pic" sz="quarter" idx="19" hasCustomPrompt="1"/>
          </p:nvPr>
        </p:nvSpPr>
        <p:spPr bwMode="gray">
          <a:xfrm>
            <a:off x="2531931" y="2806107"/>
            <a:ext cx="1992314"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8" name="Text Placeholder 13"/>
          <p:cNvSpPr>
            <a:spLocks noGrp="1"/>
          </p:cNvSpPr>
          <p:nvPr>
            <p:ph type="body" sz="quarter" idx="20" hasCustomPrompt="1"/>
          </p:nvPr>
        </p:nvSpPr>
        <p:spPr bwMode="gray">
          <a:xfrm>
            <a:off x="2531931" y="5245685"/>
            <a:ext cx="1964145"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21" hasCustomPrompt="1"/>
          </p:nvPr>
        </p:nvSpPr>
        <p:spPr bwMode="gray">
          <a:xfrm>
            <a:off x="2531931" y="5423137"/>
            <a:ext cx="1964145"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1" name="Picture Placeholder 13"/>
          <p:cNvSpPr>
            <a:spLocks noGrp="1"/>
          </p:cNvSpPr>
          <p:nvPr>
            <p:ph type="pic" sz="quarter" idx="22" hasCustomPrompt="1"/>
          </p:nvPr>
        </p:nvSpPr>
        <p:spPr bwMode="gray">
          <a:xfrm>
            <a:off x="4670101" y="1704527"/>
            <a:ext cx="1992314" cy="2312709"/>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2" name="Text Placeholder 13"/>
          <p:cNvSpPr>
            <a:spLocks noGrp="1"/>
          </p:cNvSpPr>
          <p:nvPr>
            <p:ph type="body" sz="quarter" idx="23" hasCustomPrompt="1"/>
          </p:nvPr>
        </p:nvSpPr>
        <p:spPr bwMode="gray">
          <a:xfrm>
            <a:off x="4670102" y="4134929"/>
            <a:ext cx="198998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24" hasCustomPrompt="1"/>
          </p:nvPr>
        </p:nvSpPr>
        <p:spPr bwMode="gray">
          <a:xfrm>
            <a:off x="4670102" y="4312382"/>
            <a:ext cx="198998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5" name="Picture Placeholder 13"/>
          <p:cNvSpPr>
            <a:spLocks noGrp="1"/>
          </p:cNvSpPr>
          <p:nvPr>
            <p:ph type="pic" sz="quarter" idx="25" hasCustomPrompt="1"/>
          </p:nvPr>
        </p:nvSpPr>
        <p:spPr bwMode="gray">
          <a:xfrm>
            <a:off x="6804489" y="2806107"/>
            <a:ext cx="1981061"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6" name="Text Placeholder 13"/>
          <p:cNvSpPr>
            <a:spLocks noGrp="1"/>
          </p:cNvSpPr>
          <p:nvPr>
            <p:ph type="body" sz="quarter" idx="26" hasCustomPrompt="1"/>
          </p:nvPr>
        </p:nvSpPr>
        <p:spPr bwMode="gray">
          <a:xfrm>
            <a:off x="6804489" y="5245685"/>
            <a:ext cx="198106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27" hasCustomPrompt="1"/>
          </p:nvPr>
        </p:nvSpPr>
        <p:spPr bwMode="gray">
          <a:xfrm>
            <a:off x="6804489" y="5423138"/>
            <a:ext cx="198106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28" hasCustomPrompt="1"/>
          </p:nvPr>
        </p:nvSpPr>
        <p:spPr bwMode="gray">
          <a:xfrm>
            <a:off x="8946441" y="1704525"/>
            <a:ext cx="1992314"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0" name="Text Placeholder 13"/>
          <p:cNvSpPr>
            <a:spLocks noGrp="1"/>
          </p:cNvSpPr>
          <p:nvPr>
            <p:ph type="body" sz="quarter" idx="29" hasCustomPrompt="1"/>
          </p:nvPr>
        </p:nvSpPr>
        <p:spPr bwMode="gray">
          <a:xfrm>
            <a:off x="8946441" y="4133355"/>
            <a:ext cx="198574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0" hasCustomPrompt="1"/>
          </p:nvPr>
        </p:nvSpPr>
        <p:spPr bwMode="gray">
          <a:xfrm>
            <a:off x="8946441" y="4310808"/>
            <a:ext cx="198574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3" name="Picture Placeholder 13"/>
          <p:cNvSpPr>
            <a:spLocks noGrp="1"/>
          </p:cNvSpPr>
          <p:nvPr>
            <p:ph type="pic" sz="quarter" idx="31" hasCustomPrompt="1"/>
          </p:nvPr>
        </p:nvSpPr>
        <p:spPr bwMode="gray">
          <a:xfrm>
            <a:off x="11097313" y="2804534"/>
            <a:ext cx="1992314" cy="2335342"/>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4" name="Text Placeholder 13"/>
          <p:cNvSpPr>
            <a:spLocks noGrp="1"/>
          </p:cNvSpPr>
          <p:nvPr>
            <p:ph type="body" sz="quarter" idx="32" hasCustomPrompt="1"/>
          </p:nvPr>
        </p:nvSpPr>
        <p:spPr bwMode="gray">
          <a:xfrm>
            <a:off x="11097313" y="5244110"/>
            <a:ext cx="197939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3" hasCustomPrompt="1"/>
          </p:nvPr>
        </p:nvSpPr>
        <p:spPr bwMode="gray">
          <a:xfrm>
            <a:off x="11097313" y="5421563"/>
            <a:ext cx="197939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341"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59" y="1946276"/>
            <a:ext cx="4145086"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76317" y="4695144"/>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4872593"/>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4681696" y="1946276"/>
            <a:ext cx="4103854"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15" name="Text Placeholder 13"/>
          <p:cNvSpPr>
            <a:spLocks noGrp="1"/>
          </p:cNvSpPr>
          <p:nvPr>
            <p:ph type="body" sz="quarter" idx="20" hasCustomPrompt="1"/>
          </p:nvPr>
        </p:nvSpPr>
        <p:spPr bwMode="gray">
          <a:xfrm>
            <a:off x="4676954" y="4695144"/>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4872593"/>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8946441" y="1946276"/>
            <a:ext cx="4130268"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8941699" y="4695144"/>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4872593"/>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468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13"/>
          <p:cNvSpPr>
            <a:spLocks noGrp="1"/>
          </p:cNvSpPr>
          <p:nvPr>
            <p:ph type="body" sz="quarter" idx="27" hasCustomPrompt="1"/>
          </p:nvPr>
        </p:nvSpPr>
        <p:spPr bwMode="gray">
          <a:xfrm>
            <a:off x="4683308"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7" name="Text Placeholder 13"/>
          <p:cNvSpPr>
            <a:spLocks noGrp="1"/>
          </p:cNvSpPr>
          <p:nvPr>
            <p:ph type="body" sz="quarter" idx="28" hasCustomPrompt="1"/>
          </p:nvPr>
        </p:nvSpPr>
        <p:spPr bwMode="gray">
          <a:xfrm>
            <a:off x="4683308" y="1590998"/>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8" name="Text Placeholder 13"/>
          <p:cNvSpPr>
            <a:spLocks noGrp="1"/>
          </p:cNvSpPr>
          <p:nvPr>
            <p:ph type="body" sz="quarter" idx="29" hasCustomPrompt="1"/>
          </p:nvPr>
        </p:nvSpPr>
        <p:spPr bwMode="gray">
          <a:xfrm>
            <a:off x="8856323"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9" name="Text Placeholder 13"/>
          <p:cNvSpPr>
            <a:spLocks noGrp="1"/>
          </p:cNvSpPr>
          <p:nvPr>
            <p:ph type="body" sz="quarter" idx="30" hasCustomPrompt="1"/>
          </p:nvPr>
        </p:nvSpPr>
        <p:spPr bwMode="gray">
          <a:xfrm>
            <a:off x="8856323" y="1589424"/>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36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7" name="Picture Placeholder 13"/>
          <p:cNvSpPr>
            <a:spLocks noGrp="1"/>
          </p:cNvSpPr>
          <p:nvPr>
            <p:ph type="pic" sz="quarter" idx="22" hasCustomPrompt="1"/>
          </p:nvPr>
        </p:nvSpPr>
        <p:spPr bwMode="gray">
          <a:xfrm>
            <a:off x="6803621" y="1946275"/>
            <a:ext cx="4128567" cy="2655889"/>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hasCustomPrompt="1"/>
          </p:nvPr>
        </p:nvSpPr>
        <p:spPr bwMode="gray">
          <a:xfrm>
            <a:off x="3613870" y="1946276"/>
            <a:ext cx="3046212" cy="3749675"/>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hasCustomPrompt="1"/>
          </p:nvPr>
        </p:nvSpPr>
        <p:spPr bwMode="gray">
          <a:xfrm>
            <a:off x="11097315" y="1946276"/>
            <a:ext cx="1979396" cy="1547812"/>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1" name="Picture Placeholder 13"/>
          <p:cNvSpPr>
            <a:spLocks noGrp="1"/>
          </p:cNvSpPr>
          <p:nvPr>
            <p:ph type="pic" sz="quarter" idx="28" hasCustomPrompt="1"/>
          </p:nvPr>
        </p:nvSpPr>
        <p:spPr bwMode="gray">
          <a:xfrm>
            <a:off x="11072191" y="4102376"/>
            <a:ext cx="1979396" cy="1593574"/>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hasCustomPrompt="1"/>
          </p:nvPr>
        </p:nvSpPr>
        <p:spPr bwMode="gray">
          <a:xfrm>
            <a:off x="392654" y="4102374"/>
            <a:ext cx="3055940" cy="1593577"/>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hasCustomPrompt="1"/>
          </p:nvPr>
        </p:nvSpPr>
        <p:spPr bwMode="gray">
          <a:xfrm>
            <a:off x="392654" y="1946278"/>
            <a:ext cx="3055940" cy="1547810"/>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98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6802438"/>
          </a:xfrm>
          <a:solidFill>
            <a:schemeClr val="accent5">
              <a:lumMod val="60000"/>
              <a:lumOff val="40000"/>
            </a:schemeClr>
          </a:solidFill>
        </p:spPr>
        <p:txBody>
          <a:bodyPr tIns="2520000" anchor="t"/>
          <a:lstStyle>
            <a:lvl1pPr algn="ctr">
              <a:buNone/>
              <a:defRPr>
                <a:solidFill>
                  <a:schemeClr val="bg1"/>
                </a:solidFill>
              </a:defRPr>
            </a:lvl1pPr>
          </a:lstStyle>
          <a:p>
            <a:r>
              <a:rPr lang="en-US" dirty="0"/>
              <a:t>Click icon to add picture</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Picture Placeholder 13"/>
          <p:cNvSpPr>
            <a:spLocks noGrp="1"/>
          </p:cNvSpPr>
          <p:nvPr>
            <p:ph type="pic" sz="quarter" idx="17"/>
          </p:nvPr>
        </p:nvSpPr>
        <p:spPr bwMode="gray">
          <a:xfrm>
            <a:off x="2531933" y="6917309"/>
            <a:ext cx="879606" cy="405148"/>
          </a:xfrm>
        </p:spPr>
        <p:txBody>
          <a:bodyPr/>
          <a:lstStyle>
            <a:lvl1pPr>
              <a:lnSpc>
                <a:spcPct val="100000"/>
              </a:lnSpc>
              <a:buNone/>
              <a:defRPr sz="700">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3601441"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4670950"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5740458"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cxnSp>
        <p:nvCxnSpPr>
          <p:cNvPr id="29" name="Straight Connector 28"/>
          <p:cNvCxnSpPr/>
          <p:nvPr userDrawn="1"/>
        </p:nvCxnSpPr>
        <p:spPr bwMode="gray">
          <a:xfrm>
            <a:off x="1" y="6792023"/>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4" name="Picture 23"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02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400">
                <a:solidFill>
                  <a:schemeClr val="bg1"/>
                </a:solidFill>
              </a:defRPr>
            </a:lvl1pPr>
          </a:lstStyle>
          <a:p>
            <a:r>
              <a:rPr lang="en-US" dirty="0"/>
              <a:t>Click icon to add picture</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Picture Placeholder 13"/>
          <p:cNvSpPr>
            <a:spLocks noGrp="1"/>
          </p:cNvSpPr>
          <p:nvPr>
            <p:ph type="pic" sz="quarter" idx="17"/>
          </p:nvPr>
        </p:nvSpPr>
        <p:spPr bwMode="gray">
          <a:xfrm>
            <a:off x="2531932" y="6918217"/>
            <a:ext cx="916662" cy="405148"/>
          </a:xfrm>
        </p:spPr>
        <p:txBody>
          <a:bodyPr/>
          <a:lstStyle>
            <a:lvl1pPr>
              <a:lnSpc>
                <a:spcPct val="100000"/>
              </a:lnSpc>
              <a:buNone/>
              <a:defRPr sz="700">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3609487"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4678988"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5721679"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4"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38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1"/>
            <a:ext cx="13442950" cy="7561263"/>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21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7" name="Media Placeholder 46"/>
          <p:cNvSpPr>
            <a:spLocks noGrp="1"/>
          </p:cNvSpPr>
          <p:nvPr>
            <p:ph type="media" sz="quarter" idx="10" hasCustomPrompt="1"/>
          </p:nvPr>
        </p:nvSpPr>
        <p:spPr bwMode="gray">
          <a:xfrm>
            <a:off x="2531932" y="1395413"/>
            <a:ext cx="8400256" cy="4854575"/>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7"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23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5"/>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4" name="Straight Connector 3"/>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pic>
        <p:nvPicPr>
          <p:cNvPr id="5" name="Picture 4"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hasCustomPrompt="1"/>
          </p:nvPr>
        </p:nvSpPr>
        <p:spPr bwMode="gray">
          <a:xfrm>
            <a:off x="-1" y="852140"/>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80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13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252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47" name="Media Placeholder 46"/>
          <p:cNvSpPr>
            <a:spLocks noGrp="1"/>
          </p:cNvSpPr>
          <p:nvPr>
            <p:ph type="media" sz="quarter" idx="10" hasCustomPrompt="1"/>
          </p:nvPr>
        </p:nvSpPr>
        <p:spPr bwMode="gray">
          <a:xfrm>
            <a:off x="376755"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7" name="Media Placeholder 46"/>
          <p:cNvSpPr>
            <a:spLocks noGrp="1"/>
          </p:cNvSpPr>
          <p:nvPr>
            <p:ph type="media" sz="quarter" idx="16" hasCustomPrompt="1"/>
          </p:nvPr>
        </p:nvSpPr>
        <p:spPr bwMode="gray">
          <a:xfrm>
            <a:off x="4665329"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8" name="Media Placeholder 46"/>
          <p:cNvSpPr>
            <a:spLocks noGrp="1"/>
          </p:cNvSpPr>
          <p:nvPr>
            <p:ph type="media" sz="quarter" idx="17" hasCustomPrompt="1"/>
          </p:nvPr>
        </p:nvSpPr>
        <p:spPr bwMode="gray">
          <a:xfrm>
            <a:off x="8953903"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1" name="Media Placeholder 46"/>
          <p:cNvSpPr>
            <a:spLocks noGrp="1"/>
          </p:cNvSpPr>
          <p:nvPr>
            <p:ph type="media" sz="quarter" idx="18" hasCustomPrompt="1"/>
          </p:nvPr>
        </p:nvSpPr>
        <p:spPr bwMode="gray">
          <a:xfrm>
            <a:off x="376755"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3" name="Media Placeholder 46"/>
          <p:cNvSpPr>
            <a:spLocks noGrp="1"/>
          </p:cNvSpPr>
          <p:nvPr>
            <p:ph type="media" sz="quarter" idx="19" hasCustomPrompt="1"/>
          </p:nvPr>
        </p:nvSpPr>
        <p:spPr bwMode="gray">
          <a:xfrm>
            <a:off x="4665329"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4" name="Media Placeholder 46"/>
          <p:cNvSpPr>
            <a:spLocks noGrp="1"/>
          </p:cNvSpPr>
          <p:nvPr>
            <p:ph type="media" sz="quarter" idx="20" hasCustomPrompt="1"/>
          </p:nvPr>
        </p:nvSpPr>
        <p:spPr bwMode="gray">
          <a:xfrm>
            <a:off x="8953903"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25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hasCustomPrompt="1"/>
          </p:nvPr>
        </p:nvSpPr>
        <p:spPr bwMode="gray">
          <a:xfrm>
            <a:off x="381060" y="1395414"/>
            <a:ext cx="12695650" cy="5407025"/>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6" name="Straight Connector 15"/>
          <p:cNvCxnSpPr>
            <a:stCxn id="15" idx="1"/>
            <a:endCxn id="15" idx="3"/>
          </p:cNvCxnSpPr>
          <p:nvPr userDrawn="1"/>
        </p:nvCxnSpPr>
        <p:spPr bwMode="gray">
          <a:xfrm>
            <a:off x="1" y="6802438"/>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28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482"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506"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30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38614" y="34482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33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42610" y="344893"/>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89479" name="think-cell Slide" r:id="rId4" imgW="6350000" imgH="6350000" progId="">
                  <p:embed/>
                </p:oleObj>
              </mc:Choice>
              <mc:Fallback>
                <p:oleObj name="think-cell Slide" r:id="rId4" imgW="6350000" imgH="635000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bwMode="gray">
          <a:xfrm>
            <a:off x="365918" y="5103814"/>
            <a:ext cx="12331696" cy="709383"/>
          </a:xfrm>
        </p:spPr>
        <p:txBody>
          <a:bodyPr wrap="square" anchor="t" anchorCtr="0"/>
          <a:lstStyle>
            <a:lvl1pPr algn="l">
              <a:lnSpc>
                <a:spcPts val="6000"/>
              </a:lnSpc>
              <a:defRPr sz="6600"/>
            </a:lvl1pPr>
          </a:lstStyle>
          <a:p>
            <a:r>
              <a:rPr lang="en-US" dirty="0"/>
              <a:t>THANK YOU</a:t>
            </a:r>
          </a:p>
        </p:txBody>
      </p:sp>
      <p:sp>
        <p:nvSpPr>
          <p:cNvPr id="8" name="Picture Placeholder 10"/>
          <p:cNvSpPr>
            <a:spLocks noGrp="1"/>
          </p:cNvSpPr>
          <p:nvPr>
            <p:ph type="pic" sz="quarter" idx="16"/>
          </p:nvPr>
        </p:nvSpPr>
        <p:spPr bwMode="gray">
          <a:xfrm>
            <a:off x="1" y="7"/>
            <a:ext cx="13442950" cy="4560250"/>
          </a:xfrm>
          <a:solidFill>
            <a:schemeClr val="accent5"/>
          </a:solidFill>
          <a:ln>
            <a:noFill/>
          </a:ln>
        </p:spPr>
        <p:txBody>
          <a:bodyPr tIns="1440000" anchor="t" anchorCtr="0"/>
          <a:lstStyle>
            <a:lvl1pPr algn="ctr">
              <a:buNone/>
              <a:defRPr>
                <a:solidFill>
                  <a:srgbClr val="000000"/>
                </a:solidFill>
              </a:defRPr>
            </a:lvl1pPr>
          </a:lstStyle>
          <a:p>
            <a:r>
              <a:rPr lang="en-US"/>
              <a:t>Click icon to add picture</a:t>
            </a:r>
            <a:endParaRPr lang="en-US" dirty="0"/>
          </a:p>
        </p:txBody>
      </p:sp>
    </p:spTree>
    <p:extLst>
      <p:ext uri="{BB962C8B-B14F-4D97-AF65-F5344CB8AC3E}">
        <p14:creationId xmlns:p14="http://schemas.microsoft.com/office/powerpoint/2010/main" val="147100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CM Characters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9" name="Picture 2"/>
          <p:cNvPicPr>
            <a:picLocks noChangeAspect="1" noChangeArrowheads="1"/>
          </p:cNvPicPr>
          <p:nvPr userDrawn="1"/>
        </p:nvPicPr>
        <p:blipFill>
          <a:blip r:embed="rId2"/>
          <a:srcRect/>
          <a:stretch>
            <a:fillRect/>
          </a:stretch>
        </p:blipFill>
        <p:spPr bwMode="auto">
          <a:xfrm>
            <a:off x="564254" y="2362458"/>
            <a:ext cx="1513654" cy="1176338"/>
          </a:xfrm>
          <a:prstGeom prst="rect">
            <a:avLst/>
          </a:prstGeom>
          <a:noFill/>
          <a:ln w="9525">
            <a:noFill/>
            <a:miter lim="800000"/>
            <a:headEnd/>
            <a:tailEnd/>
          </a:ln>
          <a:effectLst/>
        </p:spPr>
      </p:pic>
      <p:pic>
        <p:nvPicPr>
          <p:cNvPr id="20" name="Picture 3"/>
          <p:cNvPicPr>
            <a:picLocks noChangeAspect="1" noChangeArrowheads="1"/>
          </p:cNvPicPr>
          <p:nvPr userDrawn="1"/>
        </p:nvPicPr>
        <p:blipFill>
          <a:blip r:embed="rId3"/>
          <a:srcRect/>
          <a:stretch>
            <a:fillRect/>
          </a:stretch>
        </p:blipFill>
        <p:spPr bwMode="auto">
          <a:xfrm>
            <a:off x="2487069" y="2052268"/>
            <a:ext cx="1124126" cy="1443037"/>
          </a:xfrm>
          <a:prstGeom prst="rect">
            <a:avLst/>
          </a:prstGeom>
          <a:noFill/>
          <a:ln w="9525">
            <a:noFill/>
            <a:miter lim="800000"/>
            <a:headEnd/>
            <a:tailEnd/>
          </a:ln>
          <a:effectLst/>
        </p:spPr>
      </p:pic>
      <p:pic>
        <p:nvPicPr>
          <p:cNvPr id="21" name="Picture 5"/>
          <p:cNvPicPr>
            <a:picLocks noChangeAspect="1" noChangeArrowheads="1"/>
          </p:cNvPicPr>
          <p:nvPr userDrawn="1"/>
        </p:nvPicPr>
        <p:blipFill>
          <a:blip r:embed="rId4"/>
          <a:srcRect/>
          <a:stretch>
            <a:fillRect/>
          </a:stretch>
        </p:blipFill>
        <p:spPr bwMode="auto">
          <a:xfrm>
            <a:off x="4412697" y="1423618"/>
            <a:ext cx="2051374" cy="2071687"/>
          </a:xfrm>
          <a:prstGeom prst="rect">
            <a:avLst/>
          </a:prstGeom>
          <a:noFill/>
          <a:ln w="9525">
            <a:noFill/>
            <a:miter lim="800000"/>
            <a:headEnd/>
            <a:tailEnd/>
          </a:ln>
          <a:effectLst/>
        </p:spPr>
      </p:pic>
      <p:pic>
        <p:nvPicPr>
          <p:cNvPr id="22" name="Picture 6"/>
          <p:cNvPicPr>
            <a:picLocks noChangeAspect="1" noChangeArrowheads="1"/>
          </p:cNvPicPr>
          <p:nvPr userDrawn="1"/>
        </p:nvPicPr>
        <p:blipFill>
          <a:blip r:embed="rId5"/>
          <a:srcRect/>
          <a:stretch>
            <a:fillRect/>
          </a:stretch>
        </p:blipFill>
        <p:spPr bwMode="auto">
          <a:xfrm>
            <a:off x="7149312" y="1976066"/>
            <a:ext cx="734600" cy="1519238"/>
          </a:xfrm>
          <a:prstGeom prst="rect">
            <a:avLst/>
          </a:prstGeom>
          <a:noFill/>
          <a:ln w="9525">
            <a:noFill/>
            <a:miter lim="800000"/>
            <a:headEnd/>
            <a:tailEnd/>
          </a:ln>
          <a:effectLst/>
        </p:spPr>
      </p:pic>
      <p:pic>
        <p:nvPicPr>
          <p:cNvPr id="23" name="Picture 7"/>
          <p:cNvPicPr>
            <a:picLocks noChangeAspect="1" noChangeArrowheads="1"/>
          </p:cNvPicPr>
          <p:nvPr userDrawn="1"/>
        </p:nvPicPr>
        <p:blipFill>
          <a:blip r:embed="rId6"/>
          <a:srcRect/>
          <a:stretch>
            <a:fillRect/>
          </a:stretch>
        </p:blipFill>
        <p:spPr bwMode="auto">
          <a:xfrm>
            <a:off x="8141141" y="1877642"/>
            <a:ext cx="1001340" cy="1617662"/>
          </a:xfrm>
          <a:prstGeom prst="rect">
            <a:avLst/>
          </a:prstGeom>
          <a:noFill/>
          <a:ln w="9525">
            <a:noFill/>
            <a:miter lim="800000"/>
            <a:headEnd/>
            <a:tailEnd/>
          </a:ln>
          <a:effectLst/>
        </p:spPr>
      </p:pic>
      <p:pic>
        <p:nvPicPr>
          <p:cNvPr id="24" name="Picture 8"/>
          <p:cNvPicPr>
            <a:picLocks noChangeAspect="1" noChangeArrowheads="1"/>
          </p:cNvPicPr>
          <p:nvPr userDrawn="1"/>
        </p:nvPicPr>
        <p:blipFill>
          <a:blip r:embed="rId7"/>
          <a:srcRect/>
          <a:stretch>
            <a:fillRect/>
          </a:stretch>
        </p:blipFill>
        <p:spPr bwMode="auto">
          <a:xfrm>
            <a:off x="10131384" y="1512516"/>
            <a:ext cx="2519230" cy="1982788"/>
          </a:xfrm>
          <a:prstGeom prst="rect">
            <a:avLst/>
          </a:prstGeom>
          <a:noFill/>
          <a:ln w="9525">
            <a:noFill/>
            <a:miter lim="800000"/>
            <a:headEnd/>
            <a:tailEnd/>
          </a:ln>
          <a:effectLst/>
        </p:spPr>
      </p:pic>
      <p:pic>
        <p:nvPicPr>
          <p:cNvPr id="25" name="Picture 9"/>
          <p:cNvPicPr>
            <a:picLocks noChangeAspect="1" noChangeArrowheads="1"/>
          </p:cNvPicPr>
          <p:nvPr userDrawn="1"/>
        </p:nvPicPr>
        <p:blipFill>
          <a:blip r:embed="rId8"/>
          <a:srcRect/>
          <a:stretch>
            <a:fillRect/>
          </a:stretch>
        </p:blipFill>
        <p:spPr bwMode="auto">
          <a:xfrm>
            <a:off x="496800" y="4225860"/>
            <a:ext cx="2068308" cy="2071687"/>
          </a:xfrm>
          <a:prstGeom prst="rect">
            <a:avLst/>
          </a:prstGeom>
          <a:noFill/>
          <a:ln w="9525">
            <a:noFill/>
            <a:miter lim="800000"/>
            <a:headEnd/>
            <a:tailEnd/>
          </a:ln>
          <a:effectLst/>
        </p:spPr>
      </p:pic>
      <p:pic>
        <p:nvPicPr>
          <p:cNvPr id="26" name="Picture 10"/>
          <p:cNvPicPr>
            <a:picLocks noChangeAspect="1" noChangeArrowheads="1"/>
          </p:cNvPicPr>
          <p:nvPr userDrawn="1"/>
        </p:nvPicPr>
        <p:blipFill>
          <a:blip r:embed="rId9"/>
          <a:srcRect/>
          <a:stretch>
            <a:fillRect/>
          </a:stretch>
        </p:blipFill>
        <p:spPr bwMode="auto">
          <a:xfrm>
            <a:off x="3129710" y="4314760"/>
            <a:ext cx="1581398" cy="1982787"/>
          </a:xfrm>
          <a:prstGeom prst="rect">
            <a:avLst/>
          </a:prstGeom>
          <a:noFill/>
          <a:ln w="9525">
            <a:noFill/>
            <a:miter lim="800000"/>
            <a:headEnd/>
            <a:tailEnd/>
          </a:ln>
          <a:effectLst/>
        </p:spPr>
      </p:pic>
      <p:pic>
        <p:nvPicPr>
          <p:cNvPr id="27" name="Picture 11"/>
          <p:cNvPicPr>
            <a:picLocks noChangeAspect="1" noChangeArrowheads="1"/>
          </p:cNvPicPr>
          <p:nvPr userDrawn="1"/>
        </p:nvPicPr>
        <p:blipFill>
          <a:blip r:embed="rId10"/>
          <a:srcRect/>
          <a:stretch>
            <a:fillRect/>
          </a:stretch>
        </p:blipFill>
        <p:spPr bwMode="auto">
          <a:xfrm>
            <a:off x="5271041" y="4225858"/>
            <a:ext cx="2193212" cy="2071688"/>
          </a:xfrm>
          <a:prstGeom prst="rect">
            <a:avLst/>
          </a:prstGeom>
          <a:noFill/>
          <a:ln w="9525">
            <a:noFill/>
            <a:miter lim="800000"/>
            <a:headEnd/>
            <a:tailEnd/>
          </a:ln>
          <a:effectLst/>
        </p:spPr>
      </p:pic>
      <p:pic>
        <p:nvPicPr>
          <p:cNvPr id="28" name="Picture 12"/>
          <p:cNvPicPr>
            <a:picLocks noChangeAspect="1" noChangeArrowheads="1"/>
          </p:cNvPicPr>
          <p:nvPr userDrawn="1"/>
        </p:nvPicPr>
        <p:blipFill>
          <a:blip r:embed="rId11"/>
          <a:srcRect/>
          <a:stretch>
            <a:fillRect/>
          </a:stretch>
        </p:blipFill>
        <p:spPr bwMode="auto">
          <a:xfrm>
            <a:off x="7679607" y="4225860"/>
            <a:ext cx="2320232" cy="2071687"/>
          </a:xfrm>
          <a:prstGeom prst="rect">
            <a:avLst/>
          </a:prstGeom>
          <a:noFill/>
          <a:ln w="9525">
            <a:noFill/>
            <a:miter lim="800000"/>
            <a:headEnd/>
            <a:tailEnd/>
          </a:ln>
          <a:effectLst/>
        </p:spPr>
      </p:pic>
      <p:pic>
        <p:nvPicPr>
          <p:cNvPr id="29" name="Picture 13"/>
          <p:cNvPicPr>
            <a:picLocks noChangeAspect="1" noChangeArrowheads="1"/>
          </p:cNvPicPr>
          <p:nvPr userDrawn="1"/>
        </p:nvPicPr>
        <p:blipFill>
          <a:blip r:embed="rId12"/>
          <a:srcRect/>
          <a:stretch>
            <a:fillRect/>
          </a:stretch>
        </p:blipFill>
        <p:spPr bwMode="auto">
          <a:xfrm>
            <a:off x="10489214" y="3903596"/>
            <a:ext cx="1361230" cy="2393950"/>
          </a:xfrm>
          <a:prstGeom prst="rect">
            <a:avLst/>
          </a:prstGeom>
          <a:noFill/>
          <a:ln w="9525">
            <a:noFill/>
            <a:miter lim="800000"/>
            <a:headEnd/>
            <a:tailEnd/>
          </a:ln>
          <a:effectLst/>
        </p:spPr>
      </p:pic>
      <p:pic>
        <p:nvPicPr>
          <p:cNvPr id="30" name="Picture 14"/>
          <p:cNvPicPr>
            <a:picLocks noChangeAspect="1" noChangeArrowheads="1"/>
          </p:cNvPicPr>
          <p:nvPr userDrawn="1"/>
        </p:nvPicPr>
        <p:blipFill>
          <a:blip r:embed="rId13"/>
          <a:srcRect/>
          <a:stretch>
            <a:fillRect/>
          </a:stretch>
        </p:blipFill>
        <p:spPr bwMode="auto">
          <a:xfrm>
            <a:off x="12026446" y="3916296"/>
            <a:ext cx="770588" cy="2381250"/>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CM Characters 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22" name="Picture 4"/>
          <p:cNvPicPr>
            <a:picLocks noChangeAspect="1" noChangeArrowheads="1"/>
          </p:cNvPicPr>
          <p:nvPr userDrawn="1"/>
        </p:nvPicPr>
        <p:blipFill>
          <a:blip r:embed="rId2"/>
          <a:srcRect/>
          <a:stretch>
            <a:fillRect/>
          </a:stretch>
        </p:blipFill>
        <p:spPr bwMode="auto">
          <a:xfrm>
            <a:off x="8050958" y="1868485"/>
            <a:ext cx="1001340" cy="1617663"/>
          </a:xfrm>
          <a:prstGeom prst="rect">
            <a:avLst/>
          </a:prstGeom>
          <a:noFill/>
          <a:ln w="9525">
            <a:noFill/>
            <a:miter lim="800000"/>
            <a:headEnd/>
            <a:tailEnd/>
          </a:ln>
          <a:effectLst/>
        </p:spPr>
      </p:pic>
      <p:pic>
        <p:nvPicPr>
          <p:cNvPr id="23" name="Picture 5"/>
          <p:cNvPicPr>
            <a:picLocks noChangeAspect="1" noChangeArrowheads="1"/>
          </p:cNvPicPr>
          <p:nvPr userDrawn="1"/>
        </p:nvPicPr>
        <p:blipFill>
          <a:blip r:embed="rId3"/>
          <a:srcRect/>
          <a:stretch>
            <a:fillRect/>
          </a:stretch>
        </p:blipFill>
        <p:spPr bwMode="auto">
          <a:xfrm>
            <a:off x="9247884" y="1925635"/>
            <a:ext cx="601228" cy="1560513"/>
          </a:xfrm>
          <a:prstGeom prst="rect">
            <a:avLst/>
          </a:prstGeom>
          <a:noFill/>
          <a:ln w="9525">
            <a:noFill/>
            <a:miter lim="800000"/>
            <a:headEnd/>
            <a:tailEnd/>
          </a:ln>
          <a:effectLst/>
        </p:spPr>
      </p:pic>
      <p:pic>
        <p:nvPicPr>
          <p:cNvPr id="24" name="Picture 6"/>
          <p:cNvPicPr>
            <a:picLocks noChangeAspect="1" noChangeArrowheads="1"/>
          </p:cNvPicPr>
          <p:nvPr userDrawn="1"/>
        </p:nvPicPr>
        <p:blipFill>
          <a:blip r:embed="rId4"/>
          <a:srcRect/>
          <a:stretch>
            <a:fillRect/>
          </a:stretch>
        </p:blipFill>
        <p:spPr bwMode="auto">
          <a:xfrm>
            <a:off x="10217121" y="1973259"/>
            <a:ext cx="463624" cy="1512888"/>
          </a:xfrm>
          <a:prstGeom prst="rect">
            <a:avLst/>
          </a:prstGeom>
          <a:noFill/>
          <a:ln w="9525">
            <a:noFill/>
            <a:miter lim="800000"/>
            <a:headEnd/>
            <a:tailEnd/>
          </a:ln>
          <a:effectLst/>
        </p:spPr>
      </p:pic>
      <p:pic>
        <p:nvPicPr>
          <p:cNvPr id="25" name="Picture 7"/>
          <p:cNvPicPr>
            <a:picLocks noChangeAspect="1" noChangeArrowheads="1"/>
          </p:cNvPicPr>
          <p:nvPr userDrawn="1"/>
        </p:nvPicPr>
        <p:blipFill>
          <a:blip r:embed="rId5"/>
          <a:srcRect/>
          <a:stretch>
            <a:fillRect/>
          </a:stretch>
        </p:blipFill>
        <p:spPr bwMode="auto">
          <a:xfrm>
            <a:off x="11099266" y="1966911"/>
            <a:ext cx="690142" cy="1519237"/>
          </a:xfrm>
          <a:prstGeom prst="rect">
            <a:avLst/>
          </a:prstGeom>
          <a:noFill/>
          <a:ln w="9525">
            <a:noFill/>
            <a:miter lim="800000"/>
            <a:headEnd/>
            <a:tailEnd/>
          </a:ln>
          <a:effectLst/>
        </p:spPr>
      </p:pic>
      <p:pic>
        <p:nvPicPr>
          <p:cNvPr id="26" name="Picture 9"/>
          <p:cNvPicPr>
            <a:picLocks noChangeAspect="1" noChangeArrowheads="1"/>
          </p:cNvPicPr>
          <p:nvPr userDrawn="1"/>
        </p:nvPicPr>
        <p:blipFill>
          <a:blip r:embed="rId6"/>
          <a:srcRect/>
          <a:stretch>
            <a:fillRect/>
          </a:stretch>
        </p:blipFill>
        <p:spPr bwMode="auto">
          <a:xfrm>
            <a:off x="12023312" y="1973259"/>
            <a:ext cx="920894" cy="1512888"/>
          </a:xfrm>
          <a:prstGeom prst="rect">
            <a:avLst/>
          </a:prstGeom>
          <a:noFill/>
          <a:ln w="9525">
            <a:noFill/>
            <a:miter lim="800000"/>
            <a:headEnd/>
            <a:tailEnd/>
          </a:ln>
          <a:effectLst/>
        </p:spPr>
      </p:pic>
      <p:pic>
        <p:nvPicPr>
          <p:cNvPr id="27" name="Picture 10"/>
          <p:cNvPicPr>
            <a:picLocks noChangeAspect="1" noChangeArrowheads="1"/>
          </p:cNvPicPr>
          <p:nvPr userDrawn="1"/>
        </p:nvPicPr>
        <p:blipFill>
          <a:blip r:embed="rId7"/>
          <a:srcRect/>
          <a:stretch>
            <a:fillRect/>
          </a:stretch>
        </p:blipFill>
        <p:spPr bwMode="auto">
          <a:xfrm>
            <a:off x="2067697" y="4483776"/>
            <a:ext cx="1407806" cy="1787525"/>
          </a:xfrm>
          <a:prstGeom prst="rect">
            <a:avLst/>
          </a:prstGeom>
          <a:noFill/>
          <a:ln w="9525">
            <a:noFill/>
            <a:miter lim="800000"/>
            <a:headEnd/>
            <a:tailEnd/>
          </a:ln>
          <a:effectLst/>
        </p:spPr>
      </p:pic>
      <p:pic>
        <p:nvPicPr>
          <p:cNvPr id="28" name="Picture 27"/>
          <p:cNvPicPr>
            <a:picLocks noChangeAspect="1" noChangeArrowheads="1"/>
          </p:cNvPicPr>
          <p:nvPr userDrawn="1"/>
        </p:nvPicPr>
        <p:blipFill>
          <a:blip r:embed="rId8"/>
          <a:srcRect/>
          <a:stretch>
            <a:fillRect/>
          </a:stretch>
        </p:blipFill>
        <p:spPr bwMode="auto">
          <a:xfrm>
            <a:off x="5350907" y="4585376"/>
            <a:ext cx="990756" cy="1685925"/>
          </a:xfrm>
          <a:prstGeom prst="rect">
            <a:avLst/>
          </a:prstGeom>
          <a:noFill/>
          <a:ln w="9525">
            <a:noFill/>
            <a:miter lim="800000"/>
            <a:headEnd/>
            <a:tailEnd/>
          </a:ln>
          <a:effectLst/>
        </p:spPr>
      </p:pic>
      <p:pic>
        <p:nvPicPr>
          <p:cNvPr id="29" name="Picture 3"/>
          <p:cNvPicPr>
            <a:picLocks noChangeAspect="1" noChangeArrowheads="1"/>
          </p:cNvPicPr>
          <p:nvPr userDrawn="1"/>
        </p:nvPicPr>
        <p:blipFill>
          <a:blip r:embed="rId9"/>
          <a:srcRect/>
          <a:stretch>
            <a:fillRect/>
          </a:stretch>
        </p:blipFill>
        <p:spPr bwMode="auto">
          <a:xfrm>
            <a:off x="8606214" y="4291688"/>
            <a:ext cx="1486134" cy="1979612"/>
          </a:xfrm>
          <a:prstGeom prst="rect">
            <a:avLst/>
          </a:prstGeom>
          <a:noFill/>
          <a:ln w="9525">
            <a:noFill/>
            <a:miter lim="800000"/>
            <a:headEnd/>
            <a:tailEnd/>
          </a:ln>
          <a:effectLst/>
        </p:spPr>
      </p:pic>
      <p:pic>
        <p:nvPicPr>
          <p:cNvPr id="30" name="Picture 4"/>
          <p:cNvPicPr>
            <a:picLocks noChangeAspect="1" noChangeArrowheads="1"/>
          </p:cNvPicPr>
          <p:nvPr userDrawn="1"/>
        </p:nvPicPr>
        <p:blipFill>
          <a:blip r:embed="rId10"/>
          <a:srcRect/>
          <a:stretch>
            <a:fillRect/>
          </a:stretch>
        </p:blipFill>
        <p:spPr bwMode="auto">
          <a:xfrm>
            <a:off x="4016010" y="4077376"/>
            <a:ext cx="990756" cy="2193925"/>
          </a:xfrm>
          <a:prstGeom prst="rect">
            <a:avLst/>
          </a:prstGeom>
          <a:noFill/>
          <a:ln w="9525">
            <a:noFill/>
            <a:miter lim="800000"/>
            <a:headEnd/>
            <a:tailEnd/>
          </a:ln>
          <a:effectLst/>
        </p:spPr>
      </p:pic>
      <p:pic>
        <p:nvPicPr>
          <p:cNvPr id="31" name="Picture 5"/>
          <p:cNvPicPr>
            <a:picLocks noChangeAspect="1" noChangeArrowheads="1"/>
          </p:cNvPicPr>
          <p:nvPr userDrawn="1"/>
        </p:nvPicPr>
        <p:blipFill>
          <a:blip r:embed="rId11"/>
          <a:srcRect/>
          <a:stretch>
            <a:fillRect/>
          </a:stretch>
        </p:blipFill>
        <p:spPr bwMode="auto">
          <a:xfrm>
            <a:off x="6810158" y="4253588"/>
            <a:ext cx="1460730" cy="2017712"/>
          </a:xfrm>
          <a:prstGeom prst="rect">
            <a:avLst/>
          </a:prstGeom>
          <a:noFill/>
          <a:ln w="9525">
            <a:noFill/>
            <a:miter lim="800000"/>
            <a:headEnd/>
            <a:tailEnd/>
          </a:ln>
          <a:effectLst/>
        </p:spPr>
      </p:pic>
      <p:pic>
        <p:nvPicPr>
          <p:cNvPr id="32" name="Picture 6"/>
          <p:cNvPicPr>
            <a:picLocks noChangeAspect="1" noChangeArrowheads="1"/>
          </p:cNvPicPr>
          <p:nvPr userDrawn="1"/>
        </p:nvPicPr>
        <p:blipFill>
          <a:blip r:embed="rId12"/>
          <a:srcRect/>
          <a:stretch>
            <a:fillRect/>
          </a:stretch>
        </p:blipFill>
        <p:spPr bwMode="auto">
          <a:xfrm>
            <a:off x="465305" y="4509176"/>
            <a:ext cx="1318890" cy="1762125"/>
          </a:xfrm>
          <a:prstGeom prst="rect">
            <a:avLst/>
          </a:prstGeom>
          <a:noFill/>
          <a:ln w="9525">
            <a:noFill/>
            <a:miter lim="800000"/>
            <a:headEnd/>
            <a:tailEnd/>
          </a:ln>
          <a:effectLst/>
        </p:spPr>
      </p:pic>
      <p:pic>
        <p:nvPicPr>
          <p:cNvPr id="33" name="Picture 2"/>
          <p:cNvPicPr>
            <a:picLocks noChangeAspect="1" noChangeArrowheads="1"/>
          </p:cNvPicPr>
          <p:nvPr userDrawn="1"/>
        </p:nvPicPr>
        <p:blipFill>
          <a:blip r:embed="rId13"/>
          <a:srcRect/>
          <a:stretch>
            <a:fillRect/>
          </a:stretch>
        </p:blipFill>
        <p:spPr bwMode="auto">
          <a:xfrm>
            <a:off x="10671622" y="4955262"/>
            <a:ext cx="2504412" cy="1316038"/>
          </a:xfrm>
          <a:prstGeom prst="rect">
            <a:avLst/>
          </a:prstGeom>
          <a:noFill/>
          <a:ln w="9525">
            <a:noFill/>
            <a:miter lim="800000"/>
            <a:headEnd/>
            <a:tailEnd/>
          </a:ln>
          <a:effectLst/>
        </p:spPr>
      </p:pic>
      <p:pic>
        <p:nvPicPr>
          <p:cNvPr id="34" name="Picture 2"/>
          <p:cNvPicPr>
            <a:picLocks noChangeAspect="1" noChangeArrowheads="1"/>
          </p:cNvPicPr>
          <p:nvPr userDrawn="1"/>
        </p:nvPicPr>
        <p:blipFill>
          <a:blip r:embed="rId14"/>
          <a:srcRect/>
          <a:stretch>
            <a:fillRect/>
          </a:stretch>
        </p:blipFill>
        <p:spPr bwMode="auto">
          <a:xfrm>
            <a:off x="4396198" y="1912935"/>
            <a:ext cx="1526356" cy="1573213"/>
          </a:xfrm>
          <a:prstGeom prst="rect">
            <a:avLst/>
          </a:prstGeom>
          <a:noFill/>
          <a:ln w="9525">
            <a:noFill/>
            <a:miter lim="800000"/>
            <a:headEnd/>
            <a:tailEnd/>
          </a:ln>
          <a:effectLst/>
        </p:spPr>
      </p:pic>
      <p:pic>
        <p:nvPicPr>
          <p:cNvPr id="35" name="Picture 3"/>
          <p:cNvPicPr>
            <a:picLocks noChangeAspect="1" noChangeArrowheads="1"/>
          </p:cNvPicPr>
          <p:nvPr userDrawn="1"/>
        </p:nvPicPr>
        <p:blipFill>
          <a:blip r:embed="rId15"/>
          <a:srcRect/>
          <a:stretch>
            <a:fillRect/>
          </a:stretch>
        </p:blipFill>
        <p:spPr bwMode="auto">
          <a:xfrm>
            <a:off x="6312655" y="1808161"/>
            <a:ext cx="1392986" cy="1677987"/>
          </a:xfrm>
          <a:prstGeom prst="rect">
            <a:avLst/>
          </a:prstGeom>
          <a:noFill/>
          <a:ln w="9525">
            <a:noFill/>
            <a:miter lim="800000"/>
            <a:headEnd/>
            <a:tailEnd/>
          </a:ln>
          <a:effectLst/>
        </p:spPr>
      </p:pic>
      <p:pic>
        <p:nvPicPr>
          <p:cNvPr id="36" name="Picture 2"/>
          <p:cNvPicPr>
            <a:picLocks noChangeAspect="1" noChangeArrowheads="1"/>
          </p:cNvPicPr>
          <p:nvPr userDrawn="1"/>
        </p:nvPicPr>
        <p:blipFill>
          <a:blip r:embed="rId16"/>
          <a:srcRect/>
          <a:stretch>
            <a:fillRect/>
          </a:stretch>
        </p:blipFill>
        <p:spPr bwMode="auto">
          <a:xfrm>
            <a:off x="1323127" y="1503359"/>
            <a:ext cx="1445910" cy="1982788"/>
          </a:xfrm>
          <a:prstGeom prst="rect">
            <a:avLst/>
          </a:prstGeom>
          <a:noFill/>
          <a:ln w="9525">
            <a:noFill/>
            <a:miter lim="800000"/>
            <a:headEnd/>
            <a:tailEnd/>
          </a:ln>
          <a:effectLst/>
        </p:spPr>
      </p:pic>
      <p:pic>
        <p:nvPicPr>
          <p:cNvPr id="37" name="Picture 3"/>
          <p:cNvPicPr>
            <a:picLocks noChangeAspect="1" noChangeArrowheads="1"/>
          </p:cNvPicPr>
          <p:nvPr userDrawn="1"/>
        </p:nvPicPr>
        <p:blipFill>
          <a:blip r:embed="rId17"/>
          <a:srcRect/>
          <a:stretch>
            <a:fillRect/>
          </a:stretch>
        </p:blipFill>
        <p:spPr bwMode="auto">
          <a:xfrm>
            <a:off x="353010" y="2820985"/>
            <a:ext cx="1014042" cy="665162"/>
          </a:xfrm>
          <a:prstGeom prst="rect">
            <a:avLst/>
          </a:prstGeom>
          <a:noFill/>
          <a:ln w="9525">
            <a:noFill/>
            <a:miter lim="800000"/>
            <a:headEnd/>
            <a:tailEnd/>
          </a:ln>
          <a:effectLst/>
        </p:spPr>
      </p:pic>
      <p:pic>
        <p:nvPicPr>
          <p:cNvPr id="38" name="Picture 4"/>
          <p:cNvPicPr>
            <a:picLocks noChangeAspect="1" noChangeArrowheads="1"/>
          </p:cNvPicPr>
          <p:nvPr userDrawn="1"/>
        </p:nvPicPr>
        <p:blipFill>
          <a:blip r:embed="rId18"/>
          <a:srcRect/>
          <a:stretch>
            <a:fillRect/>
          </a:stretch>
        </p:blipFill>
        <p:spPr bwMode="auto">
          <a:xfrm>
            <a:off x="2675359" y="1811335"/>
            <a:ext cx="1420508" cy="1674813"/>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877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4708"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CM Characters 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20" name="Picture 3"/>
          <p:cNvPicPr>
            <a:picLocks noChangeAspect="1" noChangeArrowheads="1"/>
          </p:cNvPicPr>
          <p:nvPr userDrawn="1"/>
        </p:nvPicPr>
        <p:blipFill>
          <a:blip r:embed="rId2"/>
          <a:srcRect/>
          <a:stretch>
            <a:fillRect/>
          </a:stretch>
        </p:blipFill>
        <p:spPr bwMode="auto">
          <a:xfrm>
            <a:off x="449922" y="2253457"/>
            <a:ext cx="2421848" cy="1243013"/>
          </a:xfrm>
          <a:prstGeom prst="rect">
            <a:avLst/>
          </a:prstGeom>
          <a:noFill/>
          <a:ln w="9525">
            <a:noFill/>
            <a:miter lim="800000"/>
            <a:headEnd/>
            <a:tailEnd/>
          </a:ln>
          <a:effectLst/>
        </p:spPr>
      </p:pic>
      <p:pic>
        <p:nvPicPr>
          <p:cNvPr id="21" name="Picture 4"/>
          <p:cNvPicPr>
            <a:picLocks noChangeAspect="1" noChangeArrowheads="1"/>
          </p:cNvPicPr>
          <p:nvPr userDrawn="1"/>
        </p:nvPicPr>
        <p:blipFill>
          <a:blip r:embed="rId3"/>
          <a:srcRect/>
          <a:stretch>
            <a:fillRect/>
          </a:stretch>
        </p:blipFill>
        <p:spPr bwMode="auto">
          <a:xfrm>
            <a:off x="5645756" y="1424781"/>
            <a:ext cx="1979396" cy="2071688"/>
          </a:xfrm>
          <a:prstGeom prst="rect">
            <a:avLst/>
          </a:prstGeom>
          <a:noFill/>
          <a:ln w="9525">
            <a:noFill/>
            <a:miter lim="800000"/>
            <a:headEnd/>
            <a:tailEnd/>
          </a:ln>
          <a:effectLst/>
        </p:spPr>
      </p:pic>
      <p:pic>
        <p:nvPicPr>
          <p:cNvPr id="22" name="Picture 5"/>
          <p:cNvPicPr>
            <a:picLocks noChangeAspect="1" noChangeArrowheads="1"/>
          </p:cNvPicPr>
          <p:nvPr userDrawn="1"/>
        </p:nvPicPr>
        <p:blipFill>
          <a:blip r:embed="rId4"/>
          <a:srcRect/>
          <a:stretch>
            <a:fillRect/>
          </a:stretch>
        </p:blipFill>
        <p:spPr bwMode="auto">
          <a:xfrm>
            <a:off x="7720839" y="1512095"/>
            <a:ext cx="1367582" cy="1984375"/>
          </a:xfrm>
          <a:prstGeom prst="rect">
            <a:avLst/>
          </a:prstGeom>
          <a:noFill/>
          <a:ln w="9525">
            <a:noFill/>
            <a:miter lim="800000"/>
            <a:headEnd/>
            <a:tailEnd/>
          </a:ln>
          <a:effectLst/>
        </p:spPr>
      </p:pic>
      <p:pic>
        <p:nvPicPr>
          <p:cNvPr id="23" name="Picture 6"/>
          <p:cNvPicPr>
            <a:picLocks noChangeAspect="1" noChangeArrowheads="1"/>
          </p:cNvPicPr>
          <p:nvPr userDrawn="1"/>
        </p:nvPicPr>
        <p:blipFill>
          <a:blip r:embed="rId5"/>
          <a:srcRect/>
          <a:stretch>
            <a:fillRect/>
          </a:stretch>
        </p:blipFill>
        <p:spPr bwMode="auto">
          <a:xfrm>
            <a:off x="9349085" y="1513683"/>
            <a:ext cx="806578" cy="1982787"/>
          </a:xfrm>
          <a:prstGeom prst="rect">
            <a:avLst/>
          </a:prstGeom>
          <a:noFill/>
          <a:ln w="9525">
            <a:noFill/>
            <a:miter lim="800000"/>
            <a:headEnd/>
            <a:tailEnd/>
          </a:ln>
          <a:effectLst/>
        </p:spPr>
      </p:pic>
      <p:pic>
        <p:nvPicPr>
          <p:cNvPr id="24" name="Picture 7"/>
          <p:cNvPicPr>
            <a:picLocks noChangeAspect="1" noChangeArrowheads="1"/>
          </p:cNvPicPr>
          <p:nvPr userDrawn="1"/>
        </p:nvPicPr>
        <p:blipFill>
          <a:blip r:embed="rId6"/>
          <a:srcRect/>
          <a:stretch>
            <a:fillRect/>
          </a:stretch>
        </p:blipFill>
        <p:spPr bwMode="auto">
          <a:xfrm>
            <a:off x="10306499" y="1512095"/>
            <a:ext cx="1934938" cy="1984375"/>
          </a:xfrm>
          <a:prstGeom prst="rect">
            <a:avLst/>
          </a:prstGeom>
          <a:noFill/>
          <a:ln w="9525">
            <a:noFill/>
            <a:miter lim="800000"/>
            <a:headEnd/>
            <a:tailEnd/>
          </a:ln>
          <a:effectLst/>
        </p:spPr>
      </p:pic>
      <p:pic>
        <p:nvPicPr>
          <p:cNvPr id="25" name="Picture 8"/>
          <p:cNvPicPr>
            <a:picLocks noChangeAspect="1" noChangeArrowheads="1"/>
          </p:cNvPicPr>
          <p:nvPr userDrawn="1"/>
        </p:nvPicPr>
        <p:blipFill>
          <a:blip r:embed="rId7"/>
          <a:srcRect/>
          <a:stretch>
            <a:fillRect/>
          </a:stretch>
        </p:blipFill>
        <p:spPr bwMode="auto">
          <a:xfrm>
            <a:off x="12280654" y="1513681"/>
            <a:ext cx="804460" cy="1982788"/>
          </a:xfrm>
          <a:prstGeom prst="rect">
            <a:avLst/>
          </a:prstGeom>
          <a:noFill/>
          <a:ln w="9525">
            <a:noFill/>
            <a:miter lim="800000"/>
            <a:headEnd/>
            <a:tailEnd/>
          </a:ln>
          <a:effectLst/>
        </p:spPr>
      </p:pic>
      <p:pic>
        <p:nvPicPr>
          <p:cNvPr id="26" name="Picture 9"/>
          <p:cNvPicPr>
            <a:picLocks noChangeAspect="1" noChangeArrowheads="1"/>
          </p:cNvPicPr>
          <p:nvPr userDrawn="1"/>
        </p:nvPicPr>
        <p:blipFill>
          <a:blip r:embed="rId8"/>
          <a:srcRect/>
          <a:stretch>
            <a:fillRect/>
          </a:stretch>
        </p:blipFill>
        <p:spPr bwMode="auto">
          <a:xfrm>
            <a:off x="2895782" y="4039274"/>
            <a:ext cx="1138946" cy="2211387"/>
          </a:xfrm>
          <a:prstGeom prst="rect">
            <a:avLst/>
          </a:prstGeom>
          <a:noFill/>
          <a:ln w="9525">
            <a:noFill/>
            <a:miter lim="800000"/>
            <a:headEnd/>
            <a:tailEnd/>
          </a:ln>
          <a:effectLst/>
        </p:spPr>
      </p:pic>
      <p:pic>
        <p:nvPicPr>
          <p:cNvPr id="27" name="Picture 10"/>
          <p:cNvPicPr>
            <a:picLocks noChangeAspect="1" noChangeArrowheads="1"/>
          </p:cNvPicPr>
          <p:nvPr userDrawn="1"/>
        </p:nvPicPr>
        <p:blipFill>
          <a:blip r:embed="rId9"/>
          <a:srcRect/>
          <a:stretch>
            <a:fillRect/>
          </a:stretch>
        </p:blipFill>
        <p:spPr bwMode="auto">
          <a:xfrm>
            <a:off x="4688243" y="4178974"/>
            <a:ext cx="664738" cy="2071687"/>
          </a:xfrm>
          <a:prstGeom prst="rect">
            <a:avLst/>
          </a:prstGeom>
          <a:noFill/>
          <a:ln w="9525">
            <a:noFill/>
            <a:miter lim="800000"/>
            <a:headEnd/>
            <a:tailEnd/>
          </a:ln>
          <a:effectLst/>
        </p:spPr>
      </p:pic>
      <p:pic>
        <p:nvPicPr>
          <p:cNvPr id="28" name="Picture 11"/>
          <p:cNvPicPr>
            <a:picLocks noChangeAspect="1" noChangeArrowheads="1"/>
          </p:cNvPicPr>
          <p:nvPr userDrawn="1"/>
        </p:nvPicPr>
        <p:blipFill>
          <a:blip r:embed="rId10"/>
          <a:srcRect/>
          <a:stretch>
            <a:fillRect/>
          </a:stretch>
        </p:blipFill>
        <p:spPr bwMode="auto">
          <a:xfrm>
            <a:off x="5699327" y="4178972"/>
            <a:ext cx="819280" cy="2071688"/>
          </a:xfrm>
          <a:prstGeom prst="rect">
            <a:avLst/>
          </a:prstGeom>
          <a:noFill/>
          <a:ln w="9525">
            <a:noFill/>
            <a:miter lim="800000"/>
            <a:headEnd/>
            <a:tailEnd/>
          </a:ln>
          <a:effectLst/>
        </p:spPr>
      </p:pic>
      <p:pic>
        <p:nvPicPr>
          <p:cNvPr id="29" name="Picture 12"/>
          <p:cNvPicPr>
            <a:picLocks noChangeAspect="1" noChangeArrowheads="1"/>
          </p:cNvPicPr>
          <p:nvPr userDrawn="1"/>
        </p:nvPicPr>
        <p:blipFill>
          <a:blip r:embed="rId11"/>
          <a:srcRect/>
          <a:stretch>
            <a:fillRect/>
          </a:stretch>
        </p:blipFill>
        <p:spPr bwMode="auto">
          <a:xfrm>
            <a:off x="7426777" y="4178972"/>
            <a:ext cx="1399336" cy="2071688"/>
          </a:xfrm>
          <a:prstGeom prst="rect">
            <a:avLst/>
          </a:prstGeom>
          <a:noFill/>
          <a:ln w="9525">
            <a:noFill/>
            <a:miter lim="800000"/>
            <a:headEnd/>
            <a:tailEnd/>
          </a:ln>
          <a:effectLst/>
        </p:spPr>
      </p:pic>
      <p:pic>
        <p:nvPicPr>
          <p:cNvPr id="30" name="Picture 13"/>
          <p:cNvPicPr>
            <a:picLocks noChangeAspect="1" noChangeArrowheads="1"/>
          </p:cNvPicPr>
          <p:nvPr userDrawn="1"/>
        </p:nvPicPr>
        <p:blipFill>
          <a:blip r:embed="rId12"/>
          <a:srcRect/>
          <a:stretch>
            <a:fillRect/>
          </a:stretch>
        </p:blipFill>
        <p:spPr bwMode="auto">
          <a:xfrm>
            <a:off x="9261079" y="4178974"/>
            <a:ext cx="1824854" cy="2071687"/>
          </a:xfrm>
          <a:prstGeom prst="rect">
            <a:avLst/>
          </a:prstGeom>
          <a:noFill/>
          <a:ln w="9525">
            <a:noFill/>
            <a:miter lim="800000"/>
            <a:headEnd/>
            <a:tailEnd/>
          </a:ln>
          <a:effectLst/>
        </p:spPr>
      </p:pic>
      <p:pic>
        <p:nvPicPr>
          <p:cNvPr id="31" name="Picture 14"/>
          <p:cNvPicPr>
            <a:picLocks noChangeAspect="1" noChangeArrowheads="1"/>
          </p:cNvPicPr>
          <p:nvPr userDrawn="1"/>
        </p:nvPicPr>
        <p:blipFill>
          <a:blip r:embed="rId13"/>
          <a:srcRect/>
          <a:stretch>
            <a:fillRect/>
          </a:stretch>
        </p:blipFill>
        <p:spPr bwMode="auto">
          <a:xfrm>
            <a:off x="11340617" y="4178974"/>
            <a:ext cx="620280" cy="2071687"/>
          </a:xfrm>
          <a:prstGeom prst="rect">
            <a:avLst/>
          </a:prstGeom>
          <a:noFill/>
          <a:ln w="9525">
            <a:noFill/>
            <a:miter lim="800000"/>
            <a:headEnd/>
            <a:tailEnd/>
          </a:ln>
          <a:effectLst/>
        </p:spPr>
      </p:pic>
      <p:pic>
        <p:nvPicPr>
          <p:cNvPr id="32" name="Picture 15"/>
          <p:cNvPicPr>
            <a:picLocks noChangeAspect="1" noChangeArrowheads="1"/>
          </p:cNvPicPr>
          <p:nvPr userDrawn="1"/>
        </p:nvPicPr>
        <p:blipFill>
          <a:blip r:embed="rId14"/>
          <a:srcRect/>
          <a:stretch>
            <a:fillRect/>
          </a:stretch>
        </p:blipFill>
        <p:spPr bwMode="auto">
          <a:xfrm>
            <a:off x="12272217" y="4178972"/>
            <a:ext cx="781174" cy="2071688"/>
          </a:xfrm>
          <a:prstGeom prst="rect">
            <a:avLst/>
          </a:prstGeom>
          <a:noFill/>
          <a:ln w="9525">
            <a:noFill/>
            <a:miter lim="800000"/>
            <a:headEnd/>
            <a:tailEnd/>
          </a:ln>
          <a:effectLst/>
        </p:spPr>
      </p:pic>
      <p:pic>
        <p:nvPicPr>
          <p:cNvPr id="33" name="Picture 8"/>
          <p:cNvPicPr>
            <a:picLocks noChangeAspect="1" noChangeArrowheads="1"/>
          </p:cNvPicPr>
          <p:nvPr userDrawn="1"/>
        </p:nvPicPr>
        <p:blipFill>
          <a:blip r:embed="rId15"/>
          <a:srcRect/>
          <a:stretch>
            <a:fillRect/>
          </a:stretch>
        </p:blipFill>
        <p:spPr bwMode="auto">
          <a:xfrm>
            <a:off x="3077793" y="1861345"/>
            <a:ext cx="2368924" cy="1635125"/>
          </a:xfrm>
          <a:prstGeom prst="rect">
            <a:avLst/>
          </a:prstGeom>
          <a:noFill/>
          <a:ln w="9525">
            <a:noFill/>
            <a:miter lim="800000"/>
            <a:headEnd/>
            <a:tailEnd/>
          </a:ln>
          <a:effectLst/>
        </p:spPr>
      </p:pic>
      <p:pic>
        <p:nvPicPr>
          <p:cNvPr id="34" name="Picture 2"/>
          <p:cNvPicPr>
            <a:picLocks noChangeAspect="1" noChangeArrowheads="1"/>
          </p:cNvPicPr>
          <p:nvPr userDrawn="1"/>
        </p:nvPicPr>
        <p:blipFill>
          <a:blip r:embed="rId16"/>
          <a:srcRect/>
          <a:stretch>
            <a:fillRect/>
          </a:stretch>
        </p:blipFill>
        <p:spPr bwMode="auto">
          <a:xfrm>
            <a:off x="771648" y="4684969"/>
            <a:ext cx="544068" cy="1560512"/>
          </a:xfrm>
          <a:prstGeom prst="rect">
            <a:avLst/>
          </a:prstGeom>
          <a:noFill/>
          <a:ln w="9525">
            <a:noFill/>
            <a:miter lim="800000"/>
            <a:headEnd/>
            <a:tailEnd/>
          </a:ln>
          <a:effectLst/>
        </p:spPr>
      </p:pic>
      <p:pic>
        <p:nvPicPr>
          <p:cNvPr id="35" name="Picture 3"/>
          <p:cNvPicPr>
            <a:picLocks noChangeAspect="1" noChangeArrowheads="1"/>
          </p:cNvPicPr>
          <p:nvPr userDrawn="1"/>
        </p:nvPicPr>
        <p:blipFill>
          <a:blip r:embed="rId17"/>
          <a:srcRect/>
          <a:stretch>
            <a:fillRect/>
          </a:stretch>
        </p:blipFill>
        <p:spPr bwMode="auto">
          <a:xfrm>
            <a:off x="1707891" y="4685344"/>
            <a:ext cx="1001340" cy="1560513"/>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CM Characters 4">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24" name="Picture 4"/>
          <p:cNvPicPr>
            <a:picLocks noChangeAspect="1" noChangeArrowheads="1"/>
          </p:cNvPicPr>
          <p:nvPr userDrawn="1"/>
        </p:nvPicPr>
        <p:blipFill>
          <a:blip r:embed="rId2"/>
          <a:srcRect/>
          <a:stretch>
            <a:fillRect/>
          </a:stretch>
        </p:blipFill>
        <p:spPr bwMode="auto">
          <a:xfrm>
            <a:off x="5317383" y="1852623"/>
            <a:ext cx="1378166" cy="1665288"/>
          </a:xfrm>
          <a:prstGeom prst="rect">
            <a:avLst/>
          </a:prstGeom>
          <a:noFill/>
          <a:ln w="9525">
            <a:noFill/>
            <a:miter lim="800000"/>
            <a:headEnd/>
            <a:tailEnd/>
          </a:ln>
          <a:effectLst/>
        </p:spPr>
      </p:pic>
      <p:pic>
        <p:nvPicPr>
          <p:cNvPr id="25" name="Picture 5"/>
          <p:cNvPicPr>
            <a:picLocks noChangeAspect="1" noChangeArrowheads="1"/>
          </p:cNvPicPr>
          <p:nvPr userDrawn="1"/>
        </p:nvPicPr>
        <p:blipFill>
          <a:blip r:embed="rId3"/>
          <a:srcRect/>
          <a:stretch>
            <a:fillRect/>
          </a:stretch>
        </p:blipFill>
        <p:spPr bwMode="auto">
          <a:xfrm>
            <a:off x="6509950" y="2181237"/>
            <a:ext cx="1105074" cy="1336675"/>
          </a:xfrm>
          <a:prstGeom prst="rect">
            <a:avLst/>
          </a:prstGeom>
          <a:noFill/>
          <a:ln w="9525">
            <a:noFill/>
            <a:miter lim="800000"/>
            <a:headEnd/>
            <a:tailEnd/>
          </a:ln>
          <a:effectLst/>
        </p:spPr>
      </p:pic>
      <p:pic>
        <p:nvPicPr>
          <p:cNvPr id="26" name="Picture 6"/>
          <p:cNvPicPr>
            <a:picLocks noChangeAspect="1" noChangeArrowheads="1"/>
          </p:cNvPicPr>
          <p:nvPr userDrawn="1"/>
        </p:nvPicPr>
        <p:blipFill>
          <a:blip r:embed="rId4"/>
          <a:srcRect/>
          <a:stretch>
            <a:fillRect/>
          </a:stretch>
        </p:blipFill>
        <p:spPr bwMode="auto">
          <a:xfrm>
            <a:off x="7179820" y="1852623"/>
            <a:ext cx="1295604" cy="1665288"/>
          </a:xfrm>
          <a:prstGeom prst="rect">
            <a:avLst/>
          </a:prstGeom>
          <a:noFill/>
          <a:ln w="9525">
            <a:noFill/>
            <a:miter lim="800000"/>
            <a:headEnd/>
            <a:tailEnd/>
          </a:ln>
          <a:effectLst/>
        </p:spPr>
      </p:pic>
      <p:pic>
        <p:nvPicPr>
          <p:cNvPr id="27" name="Picture 7"/>
          <p:cNvPicPr>
            <a:picLocks noChangeAspect="1" noChangeArrowheads="1"/>
          </p:cNvPicPr>
          <p:nvPr userDrawn="1"/>
        </p:nvPicPr>
        <p:blipFill>
          <a:blip r:embed="rId5"/>
          <a:srcRect/>
          <a:stretch>
            <a:fillRect/>
          </a:stretch>
        </p:blipFill>
        <p:spPr bwMode="auto">
          <a:xfrm>
            <a:off x="10026577" y="2387611"/>
            <a:ext cx="1105074" cy="1130300"/>
          </a:xfrm>
          <a:prstGeom prst="rect">
            <a:avLst/>
          </a:prstGeom>
          <a:noFill/>
          <a:ln w="9525">
            <a:noFill/>
            <a:miter lim="800000"/>
            <a:headEnd/>
            <a:tailEnd/>
          </a:ln>
          <a:effectLst/>
        </p:spPr>
      </p:pic>
      <p:pic>
        <p:nvPicPr>
          <p:cNvPr id="28" name="Picture 8"/>
          <p:cNvPicPr>
            <a:picLocks noChangeAspect="1" noChangeArrowheads="1"/>
          </p:cNvPicPr>
          <p:nvPr userDrawn="1"/>
        </p:nvPicPr>
        <p:blipFill>
          <a:blip r:embed="rId6"/>
          <a:srcRect/>
          <a:stretch>
            <a:fillRect/>
          </a:stretch>
        </p:blipFill>
        <p:spPr bwMode="auto">
          <a:xfrm>
            <a:off x="10964815" y="1858973"/>
            <a:ext cx="1382400" cy="1658938"/>
          </a:xfrm>
          <a:prstGeom prst="rect">
            <a:avLst/>
          </a:prstGeom>
          <a:noFill/>
          <a:ln w="9525">
            <a:noFill/>
            <a:miter lim="800000"/>
            <a:headEnd/>
            <a:tailEnd/>
          </a:ln>
          <a:effectLst/>
        </p:spPr>
      </p:pic>
      <p:pic>
        <p:nvPicPr>
          <p:cNvPr id="29" name="Picture 9"/>
          <p:cNvPicPr>
            <a:picLocks noChangeAspect="1" noChangeArrowheads="1"/>
          </p:cNvPicPr>
          <p:nvPr userDrawn="1"/>
        </p:nvPicPr>
        <p:blipFill>
          <a:blip r:embed="rId7"/>
          <a:srcRect/>
          <a:stretch>
            <a:fillRect/>
          </a:stretch>
        </p:blipFill>
        <p:spPr bwMode="auto">
          <a:xfrm>
            <a:off x="9153011" y="1847861"/>
            <a:ext cx="1181286" cy="1670050"/>
          </a:xfrm>
          <a:prstGeom prst="rect">
            <a:avLst/>
          </a:prstGeom>
          <a:noFill/>
          <a:ln w="9525">
            <a:noFill/>
            <a:miter lim="800000"/>
            <a:headEnd/>
            <a:tailEnd/>
          </a:ln>
          <a:effectLst/>
        </p:spPr>
      </p:pic>
      <p:pic>
        <p:nvPicPr>
          <p:cNvPr id="30" name="Picture 10"/>
          <p:cNvPicPr>
            <a:picLocks noChangeAspect="1" noChangeArrowheads="1"/>
          </p:cNvPicPr>
          <p:nvPr userDrawn="1"/>
        </p:nvPicPr>
        <p:blipFill>
          <a:blip r:embed="rId8"/>
          <a:srcRect/>
          <a:stretch>
            <a:fillRect/>
          </a:stretch>
        </p:blipFill>
        <p:spPr bwMode="auto">
          <a:xfrm>
            <a:off x="1012710" y="4043689"/>
            <a:ext cx="965352" cy="2211388"/>
          </a:xfrm>
          <a:prstGeom prst="rect">
            <a:avLst/>
          </a:prstGeom>
          <a:noFill/>
          <a:ln w="9525">
            <a:noFill/>
            <a:miter lim="800000"/>
            <a:headEnd/>
            <a:tailEnd/>
          </a:ln>
          <a:effectLst/>
        </p:spPr>
      </p:pic>
      <p:pic>
        <p:nvPicPr>
          <p:cNvPr id="31" name="Picture 11"/>
          <p:cNvPicPr>
            <a:picLocks noChangeAspect="1" noChangeArrowheads="1"/>
          </p:cNvPicPr>
          <p:nvPr userDrawn="1"/>
        </p:nvPicPr>
        <p:blipFill>
          <a:blip r:embed="rId9"/>
          <a:srcRect/>
          <a:stretch>
            <a:fillRect/>
          </a:stretch>
        </p:blipFill>
        <p:spPr bwMode="auto">
          <a:xfrm>
            <a:off x="3245885" y="4147724"/>
            <a:ext cx="836214" cy="2071688"/>
          </a:xfrm>
          <a:prstGeom prst="rect">
            <a:avLst/>
          </a:prstGeom>
          <a:noFill/>
          <a:ln w="9525">
            <a:noFill/>
            <a:miter lim="800000"/>
            <a:headEnd/>
            <a:tailEnd/>
          </a:ln>
          <a:effectLst/>
        </p:spPr>
      </p:pic>
      <p:pic>
        <p:nvPicPr>
          <p:cNvPr id="32" name="Picture 12"/>
          <p:cNvPicPr>
            <a:picLocks noChangeAspect="1" noChangeArrowheads="1"/>
          </p:cNvPicPr>
          <p:nvPr userDrawn="1"/>
        </p:nvPicPr>
        <p:blipFill>
          <a:blip r:embed="rId10"/>
          <a:srcRect/>
          <a:stretch>
            <a:fillRect/>
          </a:stretch>
        </p:blipFill>
        <p:spPr bwMode="auto">
          <a:xfrm>
            <a:off x="5232007" y="4236624"/>
            <a:ext cx="927246" cy="1982788"/>
          </a:xfrm>
          <a:prstGeom prst="rect">
            <a:avLst/>
          </a:prstGeom>
          <a:noFill/>
          <a:ln w="9525">
            <a:noFill/>
            <a:miter lim="800000"/>
            <a:headEnd/>
            <a:tailEnd/>
          </a:ln>
          <a:effectLst/>
        </p:spPr>
      </p:pic>
      <p:pic>
        <p:nvPicPr>
          <p:cNvPr id="33" name="Picture 13"/>
          <p:cNvPicPr>
            <a:picLocks noChangeAspect="1" noChangeArrowheads="1"/>
          </p:cNvPicPr>
          <p:nvPr userDrawn="1"/>
        </p:nvPicPr>
        <p:blipFill>
          <a:blip r:embed="rId11"/>
          <a:srcRect/>
          <a:stretch>
            <a:fillRect/>
          </a:stretch>
        </p:blipFill>
        <p:spPr bwMode="auto">
          <a:xfrm>
            <a:off x="6885819" y="4235038"/>
            <a:ext cx="887024" cy="1984375"/>
          </a:xfrm>
          <a:prstGeom prst="rect">
            <a:avLst/>
          </a:prstGeom>
          <a:noFill/>
          <a:ln w="9525">
            <a:noFill/>
            <a:miter lim="800000"/>
            <a:headEnd/>
            <a:tailEnd/>
          </a:ln>
          <a:effectLst/>
        </p:spPr>
      </p:pic>
      <p:pic>
        <p:nvPicPr>
          <p:cNvPr id="34" name="Picture 14"/>
          <p:cNvPicPr>
            <a:picLocks noChangeAspect="1" noChangeArrowheads="1"/>
          </p:cNvPicPr>
          <p:nvPr userDrawn="1"/>
        </p:nvPicPr>
        <p:blipFill>
          <a:blip r:embed="rId12"/>
          <a:srcRect/>
          <a:stretch>
            <a:fillRect/>
          </a:stretch>
        </p:blipFill>
        <p:spPr bwMode="auto">
          <a:xfrm>
            <a:off x="5943725" y="4482688"/>
            <a:ext cx="1105074" cy="1736725"/>
          </a:xfrm>
          <a:prstGeom prst="rect">
            <a:avLst/>
          </a:prstGeom>
          <a:noFill/>
          <a:ln w="9525">
            <a:noFill/>
            <a:miter lim="800000"/>
            <a:headEnd/>
            <a:tailEnd/>
          </a:ln>
          <a:effectLst/>
        </p:spPr>
      </p:pic>
      <p:pic>
        <p:nvPicPr>
          <p:cNvPr id="35" name="Picture 15"/>
          <p:cNvPicPr>
            <a:picLocks noChangeAspect="1" noChangeArrowheads="1"/>
          </p:cNvPicPr>
          <p:nvPr userDrawn="1"/>
        </p:nvPicPr>
        <p:blipFill>
          <a:blip r:embed="rId13"/>
          <a:srcRect/>
          <a:stretch>
            <a:fillRect/>
          </a:stretch>
        </p:blipFill>
        <p:spPr bwMode="auto">
          <a:xfrm>
            <a:off x="8646697" y="4550950"/>
            <a:ext cx="1356998" cy="1668462"/>
          </a:xfrm>
          <a:prstGeom prst="rect">
            <a:avLst/>
          </a:prstGeom>
          <a:noFill/>
          <a:ln w="9525">
            <a:noFill/>
            <a:miter lim="800000"/>
            <a:headEnd/>
            <a:tailEnd/>
          </a:ln>
          <a:effectLst/>
        </p:spPr>
      </p:pic>
      <p:pic>
        <p:nvPicPr>
          <p:cNvPr id="36" name="Picture 16"/>
          <p:cNvPicPr>
            <a:picLocks noChangeAspect="1" noChangeArrowheads="1"/>
          </p:cNvPicPr>
          <p:nvPr userDrawn="1"/>
        </p:nvPicPr>
        <p:blipFill>
          <a:blip r:embed="rId14"/>
          <a:srcRect/>
          <a:stretch>
            <a:fillRect/>
          </a:stretch>
        </p:blipFill>
        <p:spPr bwMode="auto">
          <a:xfrm>
            <a:off x="9958050" y="4898612"/>
            <a:ext cx="1105074" cy="1320800"/>
          </a:xfrm>
          <a:prstGeom prst="rect">
            <a:avLst/>
          </a:prstGeom>
          <a:noFill/>
          <a:ln w="9525">
            <a:noFill/>
            <a:miter lim="800000"/>
            <a:headEnd/>
            <a:tailEnd/>
          </a:ln>
          <a:effectLst/>
        </p:spPr>
      </p:pic>
      <p:pic>
        <p:nvPicPr>
          <p:cNvPr id="37" name="Picture 17"/>
          <p:cNvPicPr>
            <a:picLocks noChangeAspect="1" noChangeArrowheads="1"/>
          </p:cNvPicPr>
          <p:nvPr userDrawn="1"/>
        </p:nvPicPr>
        <p:blipFill>
          <a:blip r:embed="rId15"/>
          <a:srcRect/>
          <a:stretch>
            <a:fillRect/>
          </a:stretch>
        </p:blipFill>
        <p:spPr bwMode="auto">
          <a:xfrm>
            <a:off x="10910294" y="4541424"/>
            <a:ext cx="1287136" cy="1677988"/>
          </a:xfrm>
          <a:prstGeom prst="rect">
            <a:avLst/>
          </a:prstGeom>
          <a:noFill/>
          <a:ln w="9525">
            <a:noFill/>
            <a:miter lim="800000"/>
            <a:headEnd/>
            <a:tailEnd/>
          </a:ln>
          <a:effectLst/>
        </p:spPr>
      </p:pic>
      <p:pic>
        <p:nvPicPr>
          <p:cNvPr id="38" name="Picture 18"/>
          <p:cNvPicPr>
            <a:picLocks noChangeAspect="1" noChangeArrowheads="1"/>
          </p:cNvPicPr>
          <p:nvPr userDrawn="1"/>
        </p:nvPicPr>
        <p:blipFill>
          <a:blip r:embed="rId16"/>
          <a:srcRect/>
          <a:stretch>
            <a:fillRect/>
          </a:stretch>
        </p:blipFill>
        <p:spPr bwMode="auto">
          <a:xfrm>
            <a:off x="2346565" y="4652550"/>
            <a:ext cx="1105074" cy="1566863"/>
          </a:xfrm>
          <a:prstGeom prst="rect">
            <a:avLst/>
          </a:prstGeom>
          <a:noFill/>
          <a:ln w="9525">
            <a:noFill/>
            <a:miter lim="800000"/>
            <a:headEnd/>
            <a:tailEnd/>
          </a:ln>
          <a:effectLst/>
        </p:spPr>
      </p:pic>
      <p:pic>
        <p:nvPicPr>
          <p:cNvPr id="39" name="Picture 2"/>
          <p:cNvPicPr>
            <a:picLocks noChangeAspect="1" noChangeArrowheads="1"/>
          </p:cNvPicPr>
          <p:nvPr userDrawn="1"/>
        </p:nvPicPr>
        <p:blipFill>
          <a:blip r:embed="rId17"/>
          <a:srcRect/>
          <a:stretch>
            <a:fillRect/>
          </a:stretch>
        </p:blipFill>
        <p:spPr bwMode="auto">
          <a:xfrm>
            <a:off x="575275" y="1445300"/>
            <a:ext cx="3073884" cy="2071687"/>
          </a:xfrm>
          <a:prstGeom prst="rect">
            <a:avLst/>
          </a:prstGeom>
          <a:noFill/>
          <a:ln w="9525">
            <a:noFill/>
            <a:miter lim="800000"/>
            <a:headEnd/>
            <a:tailEnd/>
          </a:ln>
          <a:effectLst/>
        </p:spPr>
      </p:pic>
      <p:pic>
        <p:nvPicPr>
          <p:cNvPr id="40" name="Picture 3"/>
          <p:cNvPicPr>
            <a:picLocks noChangeAspect="1" noChangeArrowheads="1"/>
          </p:cNvPicPr>
          <p:nvPr userDrawn="1"/>
        </p:nvPicPr>
        <p:blipFill>
          <a:blip r:embed="rId18"/>
          <a:srcRect/>
          <a:stretch>
            <a:fillRect/>
          </a:stretch>
        </p:blipFill>
        <p:spPr bwMode="auto">
          <a:xfrm>
            <a:off x="3554560" y="1800900"/>
            <a:ext cx="1242678" cy="1716087"/>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CM Characters 5">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3" name="Picture 2"/>
          <p:cNvPicPr>
            <a:picLocks noChangeAspect="1" noChangeArrowheads="1"/>
          </p:cNvPicPr>
          <p:nvPr userDrawn="1"/>
        </p:nvPicPr>
        <p:blipFill>
          <a:blip r:embed="rId2"/>
          <a:srcRect/>
          <a:stretch>
            <a:fillRect/>
          </a:stretch>
        </p:blipFill>
        <p:spPr bwMode="auto">
          <a:xfrm>
            <a:off x="1028340" y="1521494"/>
            <a:ext cx="3001906" cy="1982788"/>
          </a:xfrm>
          <a:prstGeom prst="rect">
            <a:avLst/>
          </a:prstGeom>
          <a:noFill/>
          <a:ln w="9525">
            <a:noFill/>
            <a:miter lim="800000"/>
            <a:headEnd/>
            <a:tailEnd/>
          </a:ln>
          <a:effectLst/>
        </p:spPr>
      </p:pic>
      <p:pic>
        <p:nvPicPr>
          <p:cNvPr id="14" name="Picture 3"/>
          <p:cNvPicPr>
            <a:picLocks noChangeAspect="1" noChangeArrowheads="1"/>
          </p:cNvPicPr>
          <p:nvPr userDrawn="1"/>
        </p:nvPicPr>
        <p:blipFill>
          <a:blip r:embed="rId3"/>
          <a:srcRect/>
          <a:stretch>
            <a:fillRect/>
          </a:stretch>
        </p:blipFill>
        <p:spPr bwMode="auto">
          <a:xfrm>
            <a:off x="5087294" y="1391320"/>
            <a:ext cx="3001906" cy="2112963"/>
          </a:xfrm>
          <a:prstGeom prst="rect">
            <a:avLst/>
          </a:prstGeom>
          <a:noFill/>
          <a:ln w="9525">
            <a:noFill/>
            <a:miter lim="800000"/>
            <a:headEnd/>
            <a:tailEnd/>
          </a:ln>
          <a:effectLst/>
        </p:spPr>
      </p:pic>
      <p:pic>
        <p:nvPicPr>
          <p:cNvPr id="15" name="Picture 4"/>
          <p:cNvPicPr>
            <a:picLocks noChangeAspect="1" noChangeArrowheads="1"/>
          </p:cNvPicPr>
          <p:nvPr userDrawn="1"/>
        </p:nvPicPr>
        <p:blipFill>
          <a:blip r:embed="rId4"/>
          <a:srcRect/>
          <a:stretch>
            <a:fillRect/>
          </a:stretch>
        </p:blipFill>
        <p:spPr bwMode="auto">
          <a:xfrm>
            <a:off x="9193378" y="1329408"/>
            <a:ext cx="3001906" cy="2174875"/>
          </a:xfrm>
          <a:prstGeom prst="rect">
            <a:avLst/>
          </a:prstGeom>
          <a:noFill/>
          <a:ln w="9525">
            <a:noFill/>
            <a:miter lim="800000"/>
            <a:headEnd/>
            <a:tailEnd/>
          </a:ln>
          <a:effectLst/>
        </p:spPr>
      </p:pic>
      <p:pic>
        <p:nvPicPr>
          <p:cNvPr id="16" name="Picture 5"/>
          <p:cNvPicPr>
            <a:picLocks noChangeAspect="1" noChangeArrowheads="1"/>
          </p:cNvPicPr>
          <p:nvPr userDrawn="1"/>
        </p:nvPicPr>
        <p:blipFill>
          <a:blip r:embed="rId5"/>
          <a:srcRect/>
          <a:stretch>
            <a:fillRect/>
          </a:stretch>
        </p:blipFill>
        <p:spPr bwMode="auto">
          <a:xfrm>
            <a:off x="1028340" y="4055978"/>
            <a:ext cx="3001906" cy="2098675"/>
          </a:xfrm>
          <a:prstGeom prst="rect">
            <a:avLst/>
          </a:prstGeom>
          <a:noFill/>
          <a:ln w="9525">
            <a:noFill/>
            <a:miter lim="800000"/>
            <a:headEnd/>
            <a:tailEnd/>
          </a:ln>
          <a:effectLst/>
        </p:spPr>
      </p:pic>
      <p:pic>
        <p:nvPicPr>
          <p:cNvPr id="17" name="Picture 6"/>
          <p:cNvPicPr>
            <a:picLocks noChangeAspect="1" noChangeArrowheads="1"/>
          </p:cNvPicPr>
          <p:nvPr userDrawn="1"/>
        </p:nvPicPr>
        <p:blipFill>
          <a:blip r:embed="rId6"/>
          <a:srcRect/>
          <a:stretch>
            <a:fillRect/>
          </a:stretch>
        </p:blipFill>
        <p:spPr bwMode="auto">
          <a:xfrm>
            <a:off x="5087294" y="4055978"/>
            <a:ext cx="3001906" cy="2098675"/>
          </a:xfrm>
          <a:prstGeom prst="rect">
            <a:avLst/>
          </a:prstGeom>
          <a:noFill/>
          <a:ln w="9525">
            <a:noFill/>
            <a:miter lim="800000"/>
            <a:headEnd/>
            <a:tailEnd/>
          </a:ln>
          <a:effectLst/>
        </p:spPr>
      </p:pic>
      <p:pic>
        <p:nvPicPr>
          <p:cNvPr id="18" name="Picture 7"/>
          <p:cNvPicPr>
            <a:picLocks noChangeAspect="1" noChangeArrowheads="1"/>
          </p:cNvPicPr>
          <p:nvPr userDrawn="1"/>
        </p:nvPicPr>
        <p:blipFill>
          <a:blip r:embed="rId7"/>
          <a:srcRect/>
          <a:stretch>
            <a:fillRect/>
          </a:stretch>
        </p:blipFill>
        <p:spPr bwMode="auto">
          <a:xfrm>
            <a:off x="9193378" y="4055978"/>
            <a:ext cx="3001906" cy="2098675"/>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476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a:prstGeom prst="rect">
            <a:avLst/>
          </a:prstGeo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578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71821"/>
            <a:ext cx="8259575" cy="214058"/>
          </a:xfrm>
          <a:prstGeom prst="rect">
            <a:avLst/>
          </a:prstGeo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rgbClr val="000000"/>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680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783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885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988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090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43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3247"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192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295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397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500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602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704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807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909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012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114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72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4708" y="5802738"/>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216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136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238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341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443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546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648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sp>
        <p:nvSpPr>
          <p:cNvPr id="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750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853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21" Type="http://schemas.openxmlformats.org/officeDocument/2006/relationships/tags" Target="../tags/tag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vmlDrawing" Target="../drawings/vmlDrawing74.v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image" Target="../media/image2.emf"/><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image" Target="../media/image1.emf"/><Relationship Id="rId10" Type="http://schemas.openxmlformats.org/officeDocument/2006/relationships/slideLayout" Target="../slideLayouts/slideLayout82.xml"/><Relationship Id="rId19" Type="http://schemas.openxmlformats.org/officeDocument/2006/relationships/theme" Target="../theme/theme10.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oleObject" Target="../embeddings/oleObject74.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image" Target="../media/image76.emf"/><Relationship Id="rId3" Type="http://schemas.openxmlformats.org/officeDocument/2006/relationships/slideLayout" Target="../slideLayouts/slideLayout93.xml"/><Relationship Id="rId21" Type="http://schemas.openxmlformats.org/officeDocument/2006/relationships/theme" Target="../theme/theme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image" Target="../media/image1.emf"/><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oleObject" Target="../embeddings/oleObject93.bin"/><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tags" Target="../tags/tag94.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vmlDrawing" Target="../drawings/vmlDrawing93.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3" Type="http://schemas.openxmlformats.org/officeDocument/2006/relationships/slideLayout" Target="../slideLayouts/slideLayout113.xml"/><Relationship Id="rId21" Type="http://schemas.openxmlformats.org/officeDocument/2006/relationships/tags" Target="../tags/tag110.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vmlDrawing" Target="../drawings/vmlDrawing108.v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image" Target="../media/image3.emf"/><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image" Target="../media/image1.emf"/><Relationship Id="rId10" Type="http://schemas.openxmlformats.org/officeDocument/2006/relationships/slideLayout" Target="../slideLayouts/slideLayout120.xml"/><Relationship Id="rId19" Type="http://schemas.openxmlformats.org/officeDocument/2006/relationships/theme" Target="../theme/theme12.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oleObject" Target="../embeddings/oleObject109.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34" Type="http://schemas.openxmlformats.org/officeDocument/2006/relationships/vmlDrawing" Target="../drawings/vmlDrawing127.v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theme" Target="../theme/theme13.xml"/><Relationship Id="rId38" Type="http://schemas.openxmlformats.org/officeDocument/2006/relationships/image" Target="../media/image76.emf"/><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29" Type="http://schemas.openxmlformats.org/officeDocument/2006/relationships/slideLayout" Target="../slideLayouts/slideLayout157.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image" Target="../media/image1.emf"/><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oleObject" Target="../embeddings/oleObject128.bin"/><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tags" Target="../tags/tag12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3" Type="http://schemas.openxmlformats.org/officeDocument/2006/relationships/slideLayout" Target="../slideLayouts/slideLayout163.xml"/><Relationship Id="rId21" Type="http://schemas.openxmlformats.org/officeDocument/2006/relationships/tags" Target="../tags/tag154.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vmlDrawing" Target="../drawings/vmlDrawing151.v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image" Target="../media/image76.emf"/><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image" Target="../media/image1.emf"/><Relationship Id="rId10" Type="http://schemas.openxmlformats.org/officeDocument/2006/relationships/slideLayout" Target="../slideLayouts/slideLayout170.xml"/><Relationship Id="rId19" Type="http://schemas.openxmlformats.org/officeDocument/2006/relationships/theme" Target="../theme/theme14.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oleObject" Target="../embeddings/oleObject153.bin"/></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image" Target="../media/image1.emf"/><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oleObject" Target="../embeddings/oleObject172.bin"/><Relationship Id="rId2" Type="http://schemas.openxmlformats.org/officeDocument/2006/relationships/slideLayout" Target="../slideLayouts/slideLayout180.xml"/><Relationship Id="rId16" Type="http://schemas.openxmlformats.org/officeDocument/2006/relationships/tags" Target="../tags/tag173.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vmlDrawing" Target="../drawings/vmlDrawing170.vml"/><Relationship Id="rId10" Type="http://schemas.openxmlformats.org/officeDocument/2006/relationships/slideLayout" Target="../slideLayouts/slideLayout188.xml"/><Relationship Id="rId19" Type="http://schemas.openxmlformats.org/officeDocument/2006/relationships/image" Target="../media/image76.emf"/><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3" Type="http://schemas.openxmlformats.org/officeDocument/2006/relationships/slideLayout" Target="../slideLayouts/slideLayout194.xml"/><Relationship Id="rId21" Type="http://schemas.openxmlformats.org/officeDocument/2006/relationships/vmlDrawing" Target="../drawings/vmlDrawing181.v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image" Target="../media/image76.emf"/><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theme" Target="../theme/theme16.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image" Target="../media/image1.emf"/><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oleObject" Target="../embeddings/oleObject183.bin"/><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tags" Target="../tags/tag184.xml"/></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213.xml"/><Relationship Id="rId7" Type="http://schemas.openxmlformats.org/officeDocument/2006/relationships/slideLayout" Target="../slideLayouts/slideLayout217.xml"/><Relationship Id="rId2" Type="http://schemas.openxmlformats.org/officeDocument/2006/relationships/slideLayout" Target="../slideLayouts/slideLayout212.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5" Type="http://schemas.openxmlformats.org/officeDocument/2006/relationships/slideLayout" Target="../slideLayouts/slideLayout215.xml"/><Relationship Id="rId4" Type="http://schemas.openxmlformats.org/officeDocument/2006/relationships/slideLayout" Target="../slideLayouts/slideLayout21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theme" Target="../theme/theme18.xml"/><Relationship Id="rId18" Type="http://schemas.openxmlformats.org/officeDocument/2006/relationships/image" Target="../media/image76.emf"/><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image" Target="../media/image1.emf"/><Relationship Id="rId2" Type="http://schemas.openxmlformats.org/officeDocument/2006/relationships/slideLayout" Target="../slideLayouts/slideLayout219.xml"/><Relationship Id="rId16" Type="http://schemas.openxmlformats.org/officeDocument/2006/relationships/oleObject" Target="../embeddings/oleObject202.bin"/><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5" Type="http://schemas.openxmlformats.org/officeDocument/2006/relationships/tags" Target="../tags/tag203.xml"/><Relationship Id="rId10" Type="http://schemas.openxmlformats.org/officeDocument/2006/relationships/slideLayout" Target="../slideLayouts/slideLayout227.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vmlDrawing" Target="../drawings/vmlDrawing200.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18" Type="http://schemas.openxmlformats.org/officeDocument/2006/relationships/image" Target="../media/image3.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image" Target="../media/image1.emf"/><Relationship Id="rId2" Type="http://schemas.openxmlformats.org/officeDocument/2006/relationships/slideLayout" Target="../slideLayouts/slideLayout12.xml"/><Relationship Id="rId16" Type="http://schemas.openxmlformats.org/officeDocument/2006/relationships/oleObject" Target="../embeddings/oleObject12.bin"/><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ags" Target="../tags/tag13.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ags" Target="../tags/tag2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image" Target="../media/image5.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vmlDrawing" Target="../drawings/vmlDrawing23.v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3.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image" Target="../media/image1.emf"/><Relationship Id="rId10" Type="http://schemas.openxmlformats.org/officeDocument/2006/relationships/slideLayout" Target="../slideLayouts/slideLayout32.xml"/><Relationship Id="rId19"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oleObject" Target="../embeddings/oleObject2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image" Target="../media/image1.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oleObject" Target="../embeddings/oleObject42.bin"/><Relationship Id="rId2" Type="http://schemas.openxmlformats.org/officeDocument/2006/relationships/slideLayout" Target="../slideLayouts/slideLayout42.xml"/><Relationship Id="rId16" Type="http://schemas.openxmlformats.org/officeDocument/2006/relationships/tags" Target="../tags/tag4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vmlDrawing" Target="../drawings/vmlDrawing42.vml"/><Relationship Id="rId10" Type="http://schemas.openxmlformats.org/officeDocument/2006/relationships/slideLayout" Target="../slideLayouts/slideLayout50.xml"/><Relationship Id="rId19" Type="http://schemas.openxmlformats.org/officeDocument/2006/relationships/image" Target="../media/image2.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oleObject" Target="../embeddings/oleObject56.bin"/><Relationship Id="rId5" Type="http://schemas.openxmlformats.org/officeDocument/2006/relationships/tags" Target="../tags/tag57.xml"/><Relationship Id="rId4" Type="http://schemas.openxmlformats.org/officeDocument/2006/relationships/vmlDrawing" Target="../drawings/vmlDrawing56.v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59.vml"/><Relationship Id="rId3" Type="http://schemas.openxmlformats.org/officeDocument/2006/relationships/slideLayout" Target="../slideLayouts/slideLayout58.xml"/><Relationship Id="rId7" Type="http://schemas.openxmlformats.org/officeDocument/2006/relationships/theme" Target="../theme/theme6.xml"/><Relationship Id="rId12" Type="http://schemas.openxmlformats.org/officeDocument/2006/relationships/image" Target="../media/image2.emf"/><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image" Target="../media/image1.emf"/><Relationship Id="rId5" Type="http://schemas.openxmlformats.org/officeDocument/2006/relationships/slideLayout" Target="../slideLayouts/slideLayout60.xml"/><Relationship Id="rId10" Type="http://schemas.openxmlformats.org/officeDocument/2006/relationships/oleObject" Target="../embeddings/oleObject59.bin"/><Relationship Id="rId4" Type="http://schemas.openxmlformats.org/officeDocument/2006/relationships/slideLayout" Target="../slideLayouts/slideLayout59.xml"/><Relationship Id="rId9" Type="http://schemas.openxmlformats.org/officeDocument/2006/relationships/tags" Target="../tags/tag60.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slideLayout" Target="../slideLayouts/slideLayout64.xml"/><Relationship Id="rId7" Type="http://schemas.openxmlformats.org/officeDocument/2006/relationships/vmlDrawing" Target="../drawings/vmlDrawing65.v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theme" Target="../theme/theme7.xml"/><Relationship Id="rId11" Type="http://schemas.openxmlformats.org/officeDocument/2006/relationships/image" Target="../media/image2.emf"/><Relationship Id="rId5" Type="http://schemas.openxmlformats.org/officeDocument/2006/relationships/slideLayout" Target="../slideLayouts/slideLayout66.xml"/><Relationship Id="rId10" Type="http://schemas.openxmlformats.org/officeDocument/2006/relationships/image" Target="../media/image1.emf"/><Relationship Id="rId4" Type="http://schemas.openxmlformats.org/officeDocument/2006/relationships/slideLayout" Target="../slideLayouts/slideLayout65.xml"/><Relationship Id="rId9" Type="http://schemas.openxmlformats.org/officeDocument/2006/relationships/oleObject" Target="../embeddings/oleObject65.bin"/></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71.vml"/><Relationship Id="rId7" Type="http://schemas.openxmlformats.org/officeDocument/2006/relationships/image" Target="../media/image2.emf"/><Relationship Id="rId2" Type="http://schemas.openxmlformats.org/officeDocument/2006/relationships/theme" Target="../theme/theme8.xml"/><Relationship Id="rId1" Type="http://schemas.openxmlformats.org/officeDocument/2006/relationships/slideLayout" Target="../slideLayouts/slideLayout67.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tags" Target="../tags/tag72.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slideLayout" Target="../slideLayouts/slideLayout70.xml"/><Relationship Id="rId7" Type="http://schemas.openxmlformats.org/officeDocument/2006/relationships/vmlDrawing" Target="../drawings/vmlDrawing73.v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theme" Target="../theme/theme9.xml"/><Relationship Id="rId11" Type="http://schemas.openxmlformats.org/officeDocument/2006/relationships/image" Target="../media/image2.emf"/><Relationship Id="rId5" Type="http://schemas.openxmlformats.org/officeDocument/2006/relationships/slideLayout" Target="../slideLayouts/slideLayout72.xml"/><Relationship Id="rId10" Type="http://schemas.openxmlformats.org/officeDocument/2006/relationships/image" Target="../media/image1.emf"/><Relationship Id="rId4" Type="http://schemas.openxmlformats.org/officeDocument/2006/relationships/slideLayout" Target="../slideLayouts/slideLayout71.xml"/><Relationship Id="rId9" Type="http://schemas.openxmlformats.org/officeDocument/2006/relationships/oleObject" Target="../embeddings/oleObject7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8731" name="think-cell Slide" r:id="rId14" imgW="6350000" imgH="6350000" progId="">
                  <p:embed/>
                </p:oleObj>
              </mc:Choice>
              <mc:Fallback>
                <p:oleObj name="think-cell Slide" r:id="rId14" imgW="6350000" imgH="6350000" progId="">
                  <p:embed/>
                  <p:pic>
                    <p:nvPicPr>
                      <p:cNvPr id="0"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10" name="Picture 9" descr="DCM LEFT LOGO ALL-05.eps"/>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03736" name="think-cell Slide" r:id="rId22" imgW="6350000" imgH="6350000" progId="">
                  <p:embed/>
                </p:oleObj>
              </mc:Choice>
              <mc:Fallback>
                <p:oleObj name="think-cell Slide" r:id="rId22" imgW="6350000" imgH="635000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a:xfrm>
            <a:off x="1" y="1"/>
            <a:ext cx="13442950" cy="679202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cxnSp>
        <p:nvCxnSpPr>
          <p:cNvPr id="10" name="Straight Connector 9"/>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1351571318"/>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30340" name="think-cell Slide" r:id="rId24" imgW="6350000" imgH="6350000" progId="">
                  <p:embed/>
                </p:oleObj>
              </mc:Choice>
              <mc:Fallback>
                <p:oleObj name="think-cell Slide" r:id="rId24" imgW="6350000" imgH="6350000"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236134212"/>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60" r:id="rId16"/>
    <p:sldLayoutId id="2147483961" r:id="rId17"/>
    <p:sldLayoutId id="2147483962" r:id="rId18"/>
    <p:sldLayoutId id="2147483963" r:id="rId19"/>
    <p:sldLayoutId id="2147483964" r:id="rId20"/>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3"/>
          <a:ext cx="2155" cy="1749"/>
        </p:xfrm>
        <a:graphic>
          <a:graphicData uri="http://schemas.openxmlformats.org/presentationml/2006/ole">
            <mc:AlternateContent xmlns:mc="http://schemas.openxmlformats.org/markup-compatibility/2006">
              <mc:Choice xmlns:v="urn:schemas-microsoft-com:vml" Requires="v">
                <p:oleObj spid="_x0000_s1079433" name="think-cell Slide" r:id="rId22" imgW="6350000" imgH="6350000" progId="">
                  <p:embed/>
                </p:oleObj>
              </mc:Choice>
              <mc:Fallback>
                <p:oleObj name="think-cell Slide" r:id="rId22" imgW="6350000" imgH="635000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3"/>
                        <a:ext cx="2155"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a:xfrm>
            <a:off x="1" y="1"/>
            <a:ext cx="13442950" cy="7561261"/>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1008195"/>
            <a:endParaRPr lang="en-US" sz="1799" dirty="0">
              <a:solidFill>
                <a:srgbClr val="000000"/>
              </a:solidFill>
            </a:endParaRPr>
          </a:p>
        </p:txBody>
      </p:sp>
      <p:sp>
        <p:nvSpPr>
          <p:cNvPr id="11" name="Title Placeholder 1"/>
          <p:cNvSpPr>
            <a:spLocks noGrp="1"/>
          </p:cNvSpPr>
          <p:nvPr>
            <p:ph type="title"/>
          </p:nvPr>
        </p:nvSpPr>
        <p:spPr bwMode="gray">
          <a:xfrm>
            <a:off x="351317"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2" name="Straight Connector 11"/>
          <p:cNvCxnSpPr/>
          <p:nvPr userDrawn="1"/>
        </p:nvCxnSpPr>
        <p:spPr bwMode="gray">
          <a:xfrm>
            <a:off x="1" y="6647385"/>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351316" y="6854435"/>
            <a:ext cx="1202416" cy="418462"/>
          </a:xfrm>
          <a:prstGeom prst="rect">
            <a:avLst/>
          </a:prstGeom>
        </p:spPr>
      </p:pic>
      <p:sp>
        <p:nvSpPr>
          <p:cNvPr id="9" name="Text Placeholder 13"/>
          <p:cNvSpPr txBox="1">
            <a:spLocks/>
          </p:cNvSpPr>
          <p:nvPr userDrawn="1"/>
        </p:nvSpPr>
        <p:spPr bwMode="gray">
          <a:xfrm>
            <a:off x="7209430" y="6870276"/>
            <a:ext cx="5977218" cy="308472"/>
          </a:xfrm>
          <a:prstGeom prst="rect">
            <a:avLst/>
          </a:prstGeom>
        </p:spPr>
        <p:txBody>
          <a:bodyPr anchor="b" anchorCtr="0"/>
          <a:lstStyle>
            <a:lvl1pPr marL="0" indent="0" algn="r" defTabSz="961844" rtl="0" eaLnBrk="1" latinLnBrk="0" hangingPunct="1">
              <a:lnSpc>
                <a:spcPts val="842"/>
              </a:lnSpc>
              <a:spcBef>
                <a:spcPts val="0"/>
              </a:spcBef>
              <a:buClr>
                <a:srgbClr val="FFFFFF"/>
              </a:buClr>
              <a:buSzPct val="100000"/>
              <a:buFont typeface="Arial"/>
              <a:buNone/>
              <a:defRPr sz="1200" b="1" kern="1200" spc="50" baseline="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b="0" spc="150" baseline="0" dirty="0">
                <a:latin typeface="Arial" charset="0"/>
                <a:ea typeface="Arial" charset="0"/>
                <a:cs typeface="Arial" charset="0"/>
              </a:rPr>
              <a:t>#</a:t>
            </a:r>
            <a:r>
              <a:rPr lang="en-GB" sz="1200" b="0" spc="150" baseline="0" dirty="0">
                <a:latin typeface="Arial" charset="0"/>
                <a:ea typeface="Arial" charset="0"/>
                <a:cs typeface="Arial" charset="0"/>
              </a:rPr>
              <a:t>DCMUPFRONTS</a:t>
            </a:r>
          </a:p>
        </p:txBody>
      </p:sp>
    </p:spTree>
    <p:extLst>
      <p:ext uri="{BB962C8B-B14F-4D97-AF65-F5344CB8AC3E}">
        <p14:creationId xmlns:p14="http://schemas.microsoft.com/office/powerpoint/2010/main" val="1277032134"/>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772"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772" rtl="0" eaLnBrk="1" latinLnBrk="0" hangingPunct="1">
        <a:lnSpc>
          <a:spcPts val="1899"/>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72" rtl="0" eaLnBrk="1" latinLnBrk="0" hangingPunct="1">
        <a:lnSpc>
          <a:spcPts val="1899"/>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72" rtl="0" eaLnBrk="1" latinLnBrk="0" hangingPunct="1">
        <a:lnSpc>
          <a:spcPts val="1500"/>
        </a:lnSpc>
        <a:spcBef>
          <a:spcPts val="0"/>
        </a:spcBef>
        <a:buClr>
          <a:srgbClr val="FFFFFF"/>
        </a:buClr>
        <a:buSzPct val="100000"/>
        <a:buFont typeface="Arial"/>
        <a:buNone/>
        <a:tabLst/>
        <a:defRPr sz="1401" b="1" kern="1200" baseline="0">
          <a:solidFill>
            <a:schemeClr val="tx2"/>
          </a:solidFill>
          <a:latin typeface="+mn-lt"/>
          <a:ea typeface="+mn-ea"/>
          <a:cs typeface="+mn-cs"/>
        </a:defRPr>
      </a:lvl3pPr>
      <a:lvl4pPr marL="0" indent="0" algn="l" defTabSz="961772" rtl="0" eaLnBrk="1" latinLnBrk="0" hangingPunct="1">
        <a:lnSpc>
          <a:spcPts val="1599"/>
        </a:lnSpc>
        <a:spcBef>
          <a:spcPts val="0"/>
        </a:spcBef>
        <a:buClr>
          <a:srgbClr val="FFFFFF"/>
        </a:buClr>
        <a:buSzPct val="100000"/>
        <a:buFont typeface="Arial"/>
        <a:buNone/>
        <a:tabLst/>
        <a:defRPr sz="1401" b="0" kern="1200">
          <a:solidFill>
            <a:srgbClr val="000000"/>
          </a:solidFill>
          <a:latin typeface="+mn-lt"/>
          <a:ea typeface="+mn-ea"/>
          <a:cs typeface="+mn-cs"/>
        </a:defRPr>
      </a:lvl4pPr>
      <a:lvl5pPr marL="0" indent="0" algn="l" defTabSz="961772" rtl="0" eaLnBrk="1" latinLnBrk="0" hangingPunct="1">
        <a:lnSpc>
          <a:spcPts val="1101"/>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877" indent="-240444" algn="l" defTabSz="961772"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6pPr>
      <a:lvl7pPr marL="3125763" indent="-240444" algn="l" defTabSz="961772"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7pPr>
      <a:lvl8pPr marL="3606651" indent="-240444" algn="l" defTabSz="961772"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8pPr>
      <a:lvl9pPr marL="4087537" indent="-240444" algn="l" defTabSz="961772"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9pPr>
    </p:bodyStyle>
    <p:otherStyle>
      <a:defPPr>
        <a:defRPr lang="en-US"/>
      </a:defPPr>
      <a:lvl1pPr marL="0" algn="l" defTabSz="961772" rtl="0" eaLnBrk="1" latinLnBrk="0" hangingPunct="1">
        <a:defRPr sz="1899" kern="1200">
          <a:solidFill>
            <a:schemeClr val="tx1"/>
          </a:solidFill>
          <a:latin typeface="+mn-lt"/>
          <a:ea typeface="+mn-ea"/>
          <a:cs typeface="+mn-cs"/>
        </a:defRPr>
      </a:lvl1pPr>
      <a:lvl2pPr marL="480887" algn="l" defTabSz="961772" rtl="0" eaLnBrk="1" latinLnBrk="0" hangingPunct="1">
        <a:defRPr sz="1899" kern="1200">
          <a:solidFill>
            <a:schemeClr val="tx1"/>
          </a:solidFill>
          <a:latin typeface="+mn-lt"/>
          <a:ea typeface="+mn-ea"/>
          <a:cs typeface="+mn-cs"/>
        </a:defRPr>
      </a:lvl2pPr>
      <a:lvl3pPr marL="961772" algn="l" defTabSz="961772" rtl="0" eaLnBrk="1" latinLnBrk="0" hangingPunct="1">
        <a:defRPr sz="1899" kern="1200">
          <a:solidFill>
            <a:schemeClr val="tx1"/>
          </a:solidFill>
          <a:latin typeface="+mn-lt"/>
          <a:ea typeface="+mn-ea"/>
          <a:cs typeface="+mn-cs"/>
        </a:defRPr>
      </a:lvl3pPr>
      <a:lvl4pPr marL="1442661" algn="l" defTabSz="961772" rtl="0" eaLnBrk="1" latinLnBrk="0" hangingPunct="1">
        <a:defRPr sz="1899" kern="1200">
          <a:solidFill>
            <a:schemeClr val="tx1"/>
          </a:solidFill>
          <a:latin typeface="+mn-lt"/>
          <a:ea typeface="+mn-ea"/>
          <a:cs typeface="+mn-cs"/>
        </a:defRPr>
      </a:lvl4pPr>
      <a:lvl5pPr marL="1923546" algn="l" defTabSz="961772" rtl="0" eaLnBrk="1" latinLnBrk="0" hangingPunct="1">
        <a:defRPr sz="1899" kern="1200">
          <a:solidFill>
            <a:schemeClr val="tx1"/>
          </a:solidFill>
          <a:latin typeface="+mn-lt"/>
          <a:ea typeface="+mn-ea"/>
          <a:cs typeface="+mn-cs"/>
        </a:defRPr>
      </a:lvl5pPr>
      <a:lvl6pPr marL="2404434" algn="l" defTabSz="961772" rtl="0" eaLnBrk="1" latinLnBrk="0" hangingPunct="1">
        <a:defRPr sz="1899" kern="1200">
          <a:solidFill>
            <a:schemeClr val="tx1"/>
          </a:solidFill>
          <a:latin typeface="+mn-lt"/>
          <a:ea typeface="+mn-ea"/>
          <a:cs typeface="+mn-cs"/>
        </a:defRPr>
      </a:lvl6pPr>
      <a:lvl7pPr marL="2885320" algn="l" defTabSz="961772" rtl="0" eaLnBrk="1" latinLnBrk="0" hangingPunct="1">
        <a:defRPr sz="1899" kern="1200">
          <a:solidFill>
            <a:schemeClr val="tx1"/>
          </a:solidFill>
          <a:latin typeface="+mn-lt"/>
          <a:ea typeface="+mn-ea"/>
          <a:cs typeface="+mn-cs"/>
        </a:defRPr>
      </a:lvl7pPr>
      <a:lvl8pPr marL="3366207" algn="l" defTabSz="961772" rtl="0" eaLnBrk="1" latinLnBrk="0" hangingPunct="1">
        <a:defRPr sz="1899" kern="1200">
          <a:solidFill>
            <a:schemeClr val="tx1"/>
          </a:solidFill>
          <a:latin typeface="+mn-lt"/>
          <a:ea typeface="+mn-ea"/>
          <a:cs typeface="+mn-cs"/>
        </a:defRPr>
      </a:lvl8pPr>
      <a:lvl9pPr marL="3847090" algn="l" defTabSz="961772" rtl="0" eaLnBrk="1" latinLnBrk="0" hangingPunct="1">
        <a:defRPr sz="1899"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5"/>
            </p:custDataLst>
          </p:nvPr>
        </p:nvGraphicFramePr>
        <p:xfrm>
          <a:off x="2153" y="1751"/>
          <a:ext cx="2153" cy="1750"/>
        </p:xfrm>
        <a:graphic>
          <a:graphicData uri="http://schemas.openxmlformats.org/presentationml/2006/ole">
            <mc:AlternateContent xmlns:mc="http://schemas.openxmlformats.org/markup-compatibility/2006">
              <mc:Choice xmlns:v="urn:schemas-microsoft-com:vml" Requires="v">
                <p:oleObj spid="_x0000_s1100880" name="think-cell Slide" r:id="rId36" imgW="6350000" imgH="6350000" progId="">
                  <p:embed/>
                </p:oleObj>
              </mc:Choice>
              <mc:Fallback>
                <p:oleObj name="think-cell Slide" r:id="rId36" imgW="6350000" imgH="6350000" progId="">
                  <p:embed/>
                  <p:pic>
                    <p:nvPicPr>
                      <p:cNvPr id="8" name="Object 7" hidden="1"/>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2153" y="1751"/>
                        <a:ext cx="2153"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9"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a:extLst>
              <a:ext uri="{FF2B5EF4-FFF2-40B4-BE49-F238E27FC236}">
                <a16:creationId xmlns:a16="http://schemas.microsoft.com/office/drawing/2014/main" id="{B442CC9C-D425-4399-9DA3-822C18A69F4E}"/>
              </a:ext>
            </a:extLst>
          </p:cNvPr>
          <p:cNvPicPr>
            <a:picLocks noChangeAspect="1"/>
          </p:cNvPicPr>
          <p:nvPr userDrawn="1"/>
        </p:nvPicPr>
        <p:blipFill>
          <a:blip r:embed="rId38"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3802178611"/>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2" r:id="rId8"/>
    <p:sldLayoutId id="2147484033" r:id="rId9"/>
    <p:sldLayoutId id="2147484034" r:id="rId10"/>
    <p:sldLayoutId id="2147484035" r:id="rId11"/>
    <p:sldLayoutId id="2147484036" r:id="rId12"/>
    <p:sldLayoutId id="2147484037" r:id="rId13"/>
    <p:sldLayoutId id="2147484038" r:id="rId14"/>
    <p:sldLayoutId id="2147484039" r:id="rId15"/>
    <p:sldLayoutId id="2147484040" r:id="rId16"/>
    <p:sldLayoutId id="2147484041" r:id="rId17"/>
    <p:sldLayoutId id="2147484042" r:id="rId18"/>
    <p:sldLayoutId id="2147484043" r:id="rId19"/>
    <p:sldLayoutId id="2147484044" r:id="rId20"/>
    <p:sldLayoutId id="2147484045" r:id="rId21"/>
    <p:sldLayoutId id="2147484046" r:id="rId22"/>
    <p:sldLayoutId id="2147484047" r:id="rId23"/>
    <p:sldLayoutId id="2147484048" r:id="rId24"/>
    <p:sldLayoutId id="2147484049" r:id="rId25"/>
    <p:sldLayoutId id="2147484050" r:id="rId26"/>
    <p:sldLayoutId id="2147484051" r:id="rId27"/>
    <p:sldLayoutId id="2147484052" r:id="rId28"/>
    <p:sldLayoutId id="2147484053" r:id="rId29"/>
    <p:sldLayoutId id="2147484054" r:id="rId30"/>
    <p:sldLayoutId id="2147484055" r:id="rId31"/>
    <p:sldLayoutId id="2147484056" r:id="rId3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13"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13"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13"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13" rtl="0" eaLnBrk="1" latinLnBrk="0" hangingPunct="1">
        <a:lnSpc>
          <a:spcPts val="1501"/>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13"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13"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988" indent="-240454" algn="l" defTabSz="961813"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895" indent="-240454" algn="l" defTabSz="961813"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802" indent="-240454" algn="l" defTabSz="961813"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709" indent="-240454" algn="l" defTabSz="961813"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13" rtl="0" eaLnBrk="1" latinLnBrk="0" hangingPunct="1">
        <a:defRPr sz="1900" kern="1200">
          <a:solidFill>
            <a:schemeClr val="tx1"/>
          </a:solidFill>
          <a:latin typeface="+mn-lt"/>
          <a:ea typeface="+mn-ea"/>
          <a:cs typeface="+mn-cs"/>
        </a:defRPr>
      </a:lvl1pPr>
      <a:lvl2pPr marL="480907" algn="l" defTabSz="961813" rtl="0" eaLnBrk="1" latinLnBrk="0" hangingPunct="1">
        <a:defRPr sz="1900" kern="1200">
          <a:solidFill>
            <a:schemeClr val="tx1"/>
          </a:solidFill>
          <a:latin typeface="+mn-lt"/>
          <a:ea typeface="+mn-ea"/>
          <a:cs typeface="+mn-cs"/>
        </a:defRPr>
      </a:lvl2pPr>
      <a:lvl3pPr marL="961813" algn="l" defTabSz="961813" rtl="0" eaLnBrk="1" latinLnBrk="0" hangingPunct="1">
        <a:defRPr sz="1900" kern="1200">
          <a:solidFill>
            <a:schemeClr val="tx1"/>
          </a:solidFill>
          <a:latin typeface="+mn-lt"/>
          <a:ea typeface="+mn-ea"/>
          <a:cs typeface="+mn-cs"/>
        </a:defRPr>
      </a:lvl3pPr>
      <a:lvl4pPr marL="1442722" algn="l" defTabSz="961813" rtl="0" eaLnBrk="1" latinLnBrk="0" hangingPunct="1">
        <a:defRPr sz="1900" kern="1200">
          <a:solidFill>
            <a:schemeClr val="tx1"/>
          </a:solidFill>
          <a:latin typeface="+mn-lt"/>
          <a:ea typeface="+mn-ea"/>
          <a:cs typeface="+mn-cs"/>
        </a:defRPr>
      </a:lvl4pPr>
      <a:lvl5pPr marL="1923629" algn="l" defTabSz="961813" rtl="0" eaLnBrk="1" latinLnBrk="0" hangingPunct="1">
        <a:defRPr sz="1900" kern="1200">
          <a:solidFill>
            <a:schemeClr val="tx1"/>
          </a:solidFill>
          <a:latin typeface="+mn-lt"/>
          <a:ea typeface="+mn-ea"/>
          <a:cs typeface="+mn-cs"/>
        </a:defRPr>
      </a:lvl5pPr>
      <a:lvl6pPr marL="2404535" algn="l" defTabSz="961813" rtl="0" eaLnBrk="1" latinLnBrk="0" hangingPunct="1">
        <a:defRPr sz="1900" kern="1200">
          <a:solidFill>
            <a:schemeClr val="tx1"/>
          </a:solidFill>
          <a:latin typeface="+mn-lt"/>
          <a:ea typeface="+mn-ea"/>
          <a:cs typeface="+mn-cs"/>
        </a:defRPr>
      </a:lvl6pPr>
      <a:lvl7pPr marL="2885441" algn="l" defTabSz="961813" rtl="0" eaLnBrk="1" latinLnBrk="0" hangingPunct="1">
        <a:defRPr sz="1900" kern="1200">
          <a:solidFill>
            <a:schemeClr val="tx1"/>
          </a:solidFill>
          <a:latin typeface="+mn-lt"/>
          <a:ea typeface="+mn-ea"/>
          <a:cs typeface="+mn-cs"/>
        </a:defRPr>
      </a:lvl7pPr>
      <a:lvl8pPr marL="3366348" algn="l" defTabSz="961813" rtl="0" eaLnBrk="1" latinLnBrk="0" hangingPunct="1">
        <a:defRPr sz="1900" kern="1200">
          <a:solidFill>
            <a:schemeClr val="tx1"/>
          </a:solidFill>
          <a:latin typeface="+mn-lt"/>
          <a:ea typeface="+mn-ea"/>
          <a:cs typeface="+mn-cs"/>
        </a:defRPr>
      </a:lvl8pPr>
      <a:lvl9pPr marL="3847253" algn="l" defTabSz="961813"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125456"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4" name="Picture 3"/>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1847523780"/>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706"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3" y="1752"/>
          <a:ext cx="2154" cy="1749"/>
        </p:xfrm>
        <a:graphic>
          <a:graphicData uri="http://schemas.openxmlformats.org/presentationml/2006/ole">
            <mc:AlternateContent xmlns:mc="http://schemas.openxmlformats.org/markup-compatibility/2006">
              <mc:Choice xmlns:v="urn:schemas-microsoft-com:vml" Requires="v">
                <p:oleObj spid="_x0000_s1144912"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3" y="1752"/>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9"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2"/>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7"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2903224490"/>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 id="2147484084" r:id="rId8"/>
    <p:sldLayoutId id="2147484085" r:id="rId9"/>
    <p:sldLayoutId id="2147484086" r:id="rId10"/>
    <p:sldLayoutId id="2147484087" r:id="rId11"/>
    <p:sldLayoutId id="2147484088" r:id="rId12"/>
    <p:sldLayoutId id="2147484090" r:id="rId1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670"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670" rtl="0" eaLnBrk="1" latinLnBrk="0" hangingPunct="1">
        <a:lnSpc>
          <a:spcPts val="1899"/>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670" rtl="0" eaLnBrk="1" latinLnBrk="0" hangingPunct="1">
        <a:lnSpc>
          <a:spcPts val="1899"/>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670"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670" rtl="0" eaLnBrk="1" latinLnBrk="0" hangingPunct="1">
        <a:lnSpc>
          <a:spcPts val="1599"/>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670"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595" indent="-240418" algn="l" defTabSz="961670"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6pPr>
      <a:lvl7pPr marL="3125432" indent="-240418" algn="l" defTabSz="961670"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7pPr>
      <a:lvl8pPr marL="3606269" indent="-240418" algn="l" defTabSz="961670"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8pPr>
      <a:lvl9pPr marL="4087103" indent="-240418" algn="l" defTabSz="961670"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9pPr>
    </p:bodyStyle>
    <p:otherStyle>
      <a:defPPr>
        <a:defRPr lang="en-US"/>
      </a:defPPr>
      <a:lvl1pPr marL="0" algn="l" defTabSz="961670" rtl="0" eaLnBrk="1" latinLnBrk="0" hangingPunct="1">
        <a:defRPr sz="1899" kern="1200">
          <a:solidFill>
            <a:schemeClr val="tx1"/>
          </a:solidFill>
          <a:latin typeface="+mn-lt"/>
          <a:ea typeface="+mn-ea"/>
          <a:cs typeface="+mn-cs"/>
        </a:defRPr>
      </a:lvl1pPr>
      <a:lvl2pPr marL="480837" algn="l" defTabSz="961670" rtl="0" eaLnBrk="1" latinLnBrk="0" hangingPunct="1">
        <a:defRPr sz="1899" kern="1200">
          <a:solidFill>
            <a:schemeClr val="tx1"/>
          </a:solidFill>
          <a:latin typeface="+mn-lt"/>
          <a:ea typeface="+mn-ea"/>
          <a:cs typeface="+mn-cs"/>
        </a:defRPr>
      </a:lvl2pPr>
      <a:lvl3pPr marL="961670" algn="l" defTabSz="961670" rtl="0" eaLnBrk="1" latinLnBrk="0" hangingPunct="1">
        <a:defRPr sz="1899" kern="1200">
          <a:solidFill>
            <a:schemeClr val="tx1"/>
          </a:solidFill>
          <a:latin typeface="+mn-lt"/>
          <a:ea typeface="+mn-ea"/>
          <a:cs typeface="+mn-cs"/>
        </a:defRPr>
      </a:lvl3pPr>
      <a:lvl4pPr marL="1442508" algn="l" defTabSz="961670" rtl="0" eaLnBrk="1" latinLnBrk="0" hangingPunct="1">
        <a:defRPr sz="1899" kern="1200">
          <a:solidFill>
            <a:schemeClr val="tx1"/>
          </a:solidFill>
          <a:latin typeface="+mn-lt"/>
          <a:ea typeface="+mn-ea"/>
          <a:cs typeface="+mn-cs"/>
        </a:defRPr>
      </a:lvl4pPr>
      <a:lvl5pPr marL="1923343" algn="l" defTabSz="961670" rtl="0" eaLnBrk="1" latinLnBrk="0" hangingPunct="1">
        <a:defRPr sz="1899" kern="1200">
          <a:solidFill>
            <a:schemeClr val="tx1"/>
          </a:solidFill>
          <a:latin typeface="+mn-lt"/>
          <a:ea typeface="+mn-ea"/>
          <a:cs typeface="+mn-cs"/>
        </a:defRPr>
      </a:lvl5pPr>
      <a:lvl6pPr marL="2404179" algn="l" defTabSz="961670" rtl="0" eaLnBrk="1" latinLnBrk="0" hangingPunct="1">
        <a:defRPr sz="1899" kern="1200">
          <a:solidFill>
            <a:schemeClr val="tx1"/>
          </a:solidFill>
          <a:latin typeface="+mn-lt"/>
          <a:ea typeface="+mn-ea"/>
          <a:cs typeface="+mn-cs"/>
        </a:defRPr>
      </a:lvl6pPr>
      <a:lvl7pPr marL="2885014" algn="l" defTabSz="961670" rtl="0" eaLnBrk="1" latinLnBrk="0" hangingPunct="1">
        <a:defRPr sz="1899" kern="1200">
          <a:solidFill>
            <a:schemeClr val="tx1"/>
          </a:solidFill>
          <a:latin typeface="+mn-lt"/>
          <a:ea typeface="+mn-ea"/>
          <a:cs typeface="+mn-cs"/>
        </a:defRPr>
      </a:lvl7pPr>
      <a:lvl8pPr marL="3365851" algn="l" defTabSz="961670" rtl="0" eaLnBrk="1" latinLnBrk="0" hangingPunct="1">
        <a:defRPr sz="1899" kern="1200">
          <a:solidFill>
            <a:schemeClr val="tx1"/>
          </a:solidFill>
          <a:latin typeface="+mn-lt"/>
          <a:ea typeface="+mn-ea"/>
          <a:cs typeface="+mn-cs"/>
        </a:defRPr>
      </a:lvl8pPr>
      <a:lvl9pPr marL="3846684" algn="l" defTabSz="961670" rtl="0" eaLnBrk="1" latinLnBrk="0" hangingPunct="1">
        <a:defRPr sz="1899"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157200" name="think-cell Slide" r:id="rId23" imgW="6350000" imgH="6350000" progId="">
                  <p:embed/>
                </p:oleObj>
              </mc:Choice>
              <mc:Fallback>
                <p:oleObj name="think-cell Slide" r:id="rId23" imgW="6350000" imgH="6350000" progId="">
                  <p:embed/>
                  <p:pic>
                    <p:nvPicPr>
                      <p:cNvPr id="8" name="Object 7"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4" name="Picture 3"/>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2371817551"/>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4" r:id="rId3"/>
    <p:sldLayoutId id="2147484095" r:id="rId4"/>
    <p:sldLayoutId id="2147484096" r:id="rId5"/>
    <p:sldLayoutId id="2147484097" r:id="rId6"/>
    <p:sldLayoutId id="2147484098" r:id="rId7"/>
    <p:sldLayoutId id="2147484099" r:id="rId8"/>
    <p:sldLayoutId id="2147484100" r:id="rId9"/>
    <p:sldLayoutId id="2147484101" r:id="rId10"/>
    <p:sldLayoutId id="2147484102" r:id="rId11"/>
    <p:sldLayoutId id="2147484103" r:id="rId12"/>
    <p:sldLayoutId id="2147484104" r:id="rId13"/>
    <p:sldLayoutId id="2147484105" r:id="rId14"/>
    <p:sldLayoutId id="2147484106" r:id="rId15"/>
    <p:sldLayoutId id="2147484107" r:id="rId16"/>
    <p:sldLayoutId id="2147484108" r:id="rId17"/>
    <p:sldLayoutId id="2147484109" r:id="rId18"/>
    <p:sldLayoutId id="2147484111" r:id="rId19"/>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hf hdr="0" ftr="0" dt="0"/>
  <p:txStyles>
    <p:titleStyle>
      <a:lvl1pPr algn="l" defTabSz="961706"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2344" y="1071677"/>
            <a:ext cx="11459586" cy="1429605"/>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991419" y="2619650"/>
            <a:ext cx="11460513" cy="452485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7"/>
          <p:cNvGrpSpPr/>
          <p:nvPr userDrawn="1"/>
        </p:nvGrpSpPr>
        <p:grpSpPr>
          <a:xfrm>
            <a:off x="238055" y="238151"/>
            <a:ext cx="753492" cy="752875"/>
            <a:chOff x="215900" y="216000"/>
            <a:chExt cx="683375" cy="682850"/>
          </a:xfrm>
        </p:grpSpPr>
        <p:sp>
          <p:nvSpPr>
            <p:cNvPr id="5" name="Rectangle 4"/>
            <p:cNvSpPr/>
            <p:nvPr userDrawn="1"/>
          </p:nvSpPr>
          <p:spPr>
            <a:xfrm>
              <a:off x="215900" y="216000"/>
              <a:ext cx="486000" cy="4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5" b="0" i="0" dirty="0">
                <a:latin typeface="Helvetica Regular" charset="0"/>
              </a:endParaRPr>
            </a:p>
          </p:txBody>
        </p:sp>
        <p:sp>
          <p:nvSpPr>
            <p:cNvPr id="7" name="Rectangle 6"/>
            <p:cNvSpPr/>
            <p:nvPr userDrawn="1"/>
          </p:nvSpPr>
          <p:spPr>
            <a:xfrm>
              <a:off x="522425" y="522000"/>
              <a:ext cx="376850" cy="3768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5" b="0" i="0" dirty="0">
                <a:latin typeface="Helvetica Regular" charset="0"/>
              </a:endParaRPr>
            </a:p>
          </p:txBody>
        </p:sp>
        <p:sp>
          <p:nvSpPr>
            <p:cNvPr id="6" name="Rectangle 5"/>
            <p:cNvSpPr/>
            <p:nvPr userDrawn="1"/>
          </p:nvSpPr>
          <p:spPr>
            <a:xfrm>
              <a:off x="522425" y="522000"/>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5" b="0" i="0" dirty="0">
                <a:latin typeface="Helvetica Regular" charset="0"/>
              </a:endParaRPr>
            </a:p>
          </p:txBody>
        </p:sp>
      </p:grpSp>
    </p:spTree>
    <p:extLst>
      <p:ext uri="{BB962C8B-B14F-4D97-AF65-F5344CB8AC3E}">
        <p14:creationId xmlns:p14="http://schemas.microsoft.com/office/powerpoint/2010/main" val="2062180215"/>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20" r:id="rId7"/>
  </p:sldLayoutIdLst>
  <p:txStyles>
    <p:titleStyle>
      <a:lvl1pPr algn="l" defTabSz="1008101" rtl="0" eaLnBrk="1" latinLnBrk="0" hangingPunct="1">
        <a:lnSpc>
          <a:spcPts val="4631"/>
        </a:lnSpc>
        <a:spcBef>
          <a:spcPct val="0"/>
        </a:spcBef>
        <a:buNone/>
        <a:defRPr sz="4851" b="1" kern="1200">
          <a:solidFill>
            <a:schemeClr val="tx1"/>
          </a:solidFill>
          <a:latin typeface="Helvetica" charset="0"/>
          <a:ea typeface="Helvetica" charset="0"/>
          <a:cs typeface="Helvetica" charset="0"/>
        </a:defRPr>
      </a:lvl1pPr>
    </p:titleStyle>
    <p:bodyStyle>
      <a:lvl1pPr marL="252025" indent="-252025" algn="l" defTabSz="1008101" rtl="0" eaLnBrk="1" latinLnBrk="0" hangingPunct="1">
        <a:lnSpc>
          <a:spcPts val="1544"/>
        </a:lnSpc>
        <a:spcBef>
          <a:spcPts val="1103"/>
        </a:spcBef>
        <a:buFont typeface="Wingdings" charset="2"/>
        <a:buChar char="§"/>
        <a:defRPr sz="1213" kern="1200">
          <a:solidFill>
            <a:schemeClr val="tx1"/>
          </a:solidFill>
          <a:latin typeface="Helvetica" charset="0"/>
          <a:ea typeface="Helvetica" charset="0"/>
          <a:cs typeface="Helvetica" charset="0"/>
        </a:defRPr>
      </a:lvl1pPr>
      <a:lvl2pPr marL="756076" indent="-252025" algn="l" defTabSz="1008101" rtl="0" eaLnBrk="1" latinLnBrk="0" hangingPunct="1">
        <a:lnSpc>
          <a:spcPts val="1544"/>
        </a:lnSpc>
        <a:spcBef>
          <a:spcPts val="551"/>
        </a:spcBef>
        <a:buFont typeface="Wingdings" charset="2"/>
        <a:buChar char="§"/>
        <a:defRPr sz="1213" kern="1200">
          <a:solidFill>
            <a:schemeClr val="tx1"/>
          </a:solidFill>
          <a:latin typeface="Helvetica" charset="0"/>
          <a:ea typeface="Helvetica" charset="0"/>
          <a:cs typeface="Helvetica" charset="0"/>
        </a:defRPr>
      </a:lvl2pPr>
      <a:lvl3pPr marL="1260126" indent="-252025" algn="l" defTabSz="1008101" rtl="0" eaLnBrk="1" latinLnBrk="0" hangingPunct="1">
        <a:lnSpc>
          <a:spcPts val="1544"/>
        </a:lnSpc>
        <a:spcBef>
          <a:spcPts val="551"/>
        </a:spcBef>
        <a:buFont typeface="Wingdings" charset="2"/>
        <a:buChar char="§"/>
        <a:defRPr sz="1213" kern="1200">
          <a:solidFill>
            <a:schemeClr val="tx1"/>
          </a:solidFill>
          <a:latin typeface="Helvetica" charset="0"/>
          <a:ea typeface="Helvetica" charset="0"/>
          <a:cs typeface="Helvetica" charset="0"/>
        </a:defRPr>
      </a:lvl3pPr>
      <a:lvl4pPr marL="1764176" indent="-252025" algn="l" defTabSz="1008101" rtl="0" eaLnBrk="1" latinLnBrk="0" hangingPunct="1">
        <a:lnSpc>
          <a:spcPts val="1544"/>
        </a:lnSpc>
        <a:spcBef>
          <a:spcPts val="551"/>
        </a:spcBef>
        <a:buFont typeface="Wingdings" charset="2"/>
        <a:buChar char="§"/>
        <a:defRPr sz="1213" kern="1200">
          <a:solidFill>
            <a:schemeClr val="tx1"/>
          </a:solidFill>
          <a:latin typeface="Helvetica" charset="0"/>
          <a:ea typeface="Helvetica" charset="0"/>
          <a:cs typeface="Helvetica" charset="0"/>
        </a:defRPr>
      </a:lvl4pPr>
      <a:lvl5pPr marL="2268227" indent="-252025" algn="l" defTabSz="1008101" rtl="0" eaLnBrk="1" latinLnBrk="0" hangingPunct="1">
        <a:lnSpc>
          <a:spcPts val="1544"/>
        </a:lnSpc>
        <a:spcBef>
          <a:spcPts val="551"/>
        </a:spcBef>
        <a:buFont typeface="Wingdings" charset="2"/>
        <a:buChar char="§"/>
        <a:defRPr sz="1213" kern="1200">
          <a:solidFill>
            <a:schemeClr val="tx1"/>
          </a:solidFill>
          <a:latin typeface="Helvetica" charset="0"/>
          <a:ea typeface="Helvetica" charset="0"/>
          <a:cs typeface="Helvetica" charset="0"/>
        </a:defRPr>
      </a:lvl5pPr>
      <a:lvl6pPr marL="2772277" indent="-252025" algn="l" defTabSz="1008101" rtl="0" eaLnBrk="1" latinLnBrk="0" hangingPunct="1">
        <a:lnSpc>
          <a:spcPct val="90000"/>
        </a:lnSpc>
        <a:spcBef>
          <a:spcPts val="551"/>
        </a:spcBef>
        <a:buFont typeface="Arial"/>
        <a:buChar char="•"/>
        <a:defRPr sz="2095" kern="1200">
          <a:solidFill>
            <a:schemeClr val="tx1"/>
          </a:solidFill>
          <a:latin typeface="+mn-lt"/>
          <a:ea typeface="+mn-ea"/>
          <a:cs typeface="+mn-cs"/>
        </a:defRPr>
      </a:lvl6pPr>
      <a:lvl7pPr marL="3276328" indent="-252025" algn="l" defTabSz="1008101" rtl="0" eaLnBrk="1" latinLnBrk="0" hangingPunct="1">
        <a:lnSpc>
          <a:spcPct val="90000"/>
        </a:lnSpc>
        <a:spcBef>
          <a:spcPts val="551"/>
        </a:spcBef>
        <a:buFont typeface="Arial"/>
        <a:buChar char="•"/>
        <a:defRPr sz="2095" kern="1200">
          <a:solidFill>
            <a:schemeClr val="tx1"/>
          </a:solidFill>
          <a:latin typeface="+mn-lt"/>
          <a:ea typeface="+mn-ea"/>
          <a:cs typeface="+mn-cs"/>
        </a:defRPr>
      </a:lvl7pPr>
      <a:lvl8pPr marL="3780378" indent="-252025" algn="l" defTabSz="1008101" rtl="0" eaLnBrk="1" latinLnBrk="0" hangingPunct="1">
        <a:lnSpc>
          <a:spcPct val="90000"/>
        </a:lnSpc>
        <a:spcBef>
          <a:spcPts val="551"/>
        </a:spcBef>
        <a:buFont typeface="Arial"/>
        <a:buChar char="•"/>
        <a:defRPr sz="2095" kern="1200">
          <a:solidFill>
            <a:schemeClr val="tx1"/>
          </a:solidFill>
          <a:latin typeface="+mn-lt"/>
          <a:ea typeface="+mn-ea"/>
          <a:cs typeface="+mn-cs"/>
        </a:defRPr>
      </a:lvl8pPr>
      <a:lvl9pPr marL="4284429" indent="-252025" algn="l" defTabSz="1008101" rtl="0" eaLnBrk="1" latinLnBrk="0" hangingPunct="1">
        <a:lnSpc>
          <a:spcPct val="90000"/>
        </a:lnSpc>
        <a:spcBef>
          <a:spcPts val="551"/>
        </a:spcBef>
        <a:buFont typeface="Arial"/>
        <a:buChar char="•"/>
        <a:defRPr sz="2095" kern="1200">
          <a:solidFill>
            <a:schemeClr val="tx1"/>
          </a:solidFill>
          <a:latin typeface="+mn-lt"/>
          <a:ea typeface="+mn-ea"/>
          <a:cs typeface="+mn-cs"/>
        </a:defRPr>
      </a:lvl9pPr>
    </p:bodyStyle>
    <p:otherStyle>
      <a:defPPr>
        <a:defRPr lang="en-US"/>
      </a:defPPr>
      <a:lvl1pPr marL="0" algn="l" defTabSz="1008101" rtl="0" eaLnBrk="1" latinLnBrk="0" hangingPunct="1">
        <a:defRPr sz="2095" kern="1200">
          <a:solidFill>
            <a:schemeClr val="tx1"/>
          </a:solidFill>
          <a:latin typeface="+mn-lt"/>
          <a:ea typeface="+mn-ea"/>
          <a:cs typeface="+mn-cs"/>
        </a:defRPr>
      </a:lvl1pPr>
      <a:lvl2pPr marL="504051" algn="l" defTabSz="1008101" rtl="0" eaLnBrk="1" latinLnBrk="0" hangingPunct="1">
        <a:defRPr sz="2095" kern="1200">
          <a:solidFill>
            <a:schemeClr val="tx1"/>
          </a:solidFill>
          <a:latin typeface="+mn-lt"/>
          <a:ea typeface="+mn-ea"/>
          <a:cs typeface="+mn-cs"/>
        </a:defRPr>
      </a:lvl2pPr>
      <a:lvl3pPr marL="1008101" algn="l" defTabSz="1008101" rtl="0" eaLnBrk="1" latinLnBrk="0" hangingPunct="1">
        <a:defRPr sz="2095" kern="1200">
          <a:solidFill>
            <a:schemeClr val="tx1"/>
          </a:solidFill>
          <a:latin typeface="+mn-lt"/>
          <a:ea typeface="+mn-ea"/>
          <a:cs typeface="+mn-cs"/>
        </a:defRPr>
      </a:lvl3pPr>
      <a:lvl4pPr marL="1512152" algn="l" defTabSz="1008101" rtl="0" eaLnBrk="1" latinLnBrk="0" hangingPunct="1">
        <a:defRPr sz="2095" kern="1200">
          <a:solidFill>
            <a:schemeClr val="tx1"/>
          </a:solidFill>
          <a:latin typeface="+mn-lt"/>
          <a:ea typeface="+mn-ea"/>
          <a:cs typeface="+mn-cs"/>
        </a:defRPr>
      </a:lvl4pPr>
      <a:lvl5pPr marL="2016201" algn="l" defTabSz="1008101" rtl="0" eaLnBrk="1" latinLnBrk="0" hangingPunct="1">
        <a:defRPr sz="2095" kern="1200">
          <a:solidFill>
            <a:schemeClr val="tx1"/>
          </a:solidFill>
          <a:latin typeface="+mn-lt"/>
          <a:ea typeface="+mn-ea"/>
          <a:cs typeface="+mn-cs"/>
        </a:defRPr>
      </a:lvl5pPr>
      <a:lvl6pPr marL="2520252" algn="l" defTabSz="1008101" rtl="0" eaLnBrk="1" latinLnBrk="0" hangingPunct="1">
        <a:defRPr sz="2095" kern="1200">
          <a:solidFill>
            <a:schemeClr val="tx1"/>
          </a:solidFill>
          <a:latin typeface="+mn-lt"/>
          <a:ea typeface="+mn-ea"/>
          <a:cs typeface="+mn-cs"/>
        </a:defRPr>
      </a:lvl6pPr>
      <a:lvl7pPr marL="3024302" algn="l" defTabSz="1008101" rtl="0" eaLnBrk="1" latinLnBrk="0" hangingPunct="1">
        <a:defRPr sz="2095" kern="1200">
          <a:solidFill>
            <a:schemeClr val="tx1"/>
          </a:solidFill>
          <a:latin typeface="+mn-lt"/>
          <a:ea typeface="+mn-ea"/>
          <a:cs typeface="+mn-cs"/>
        </a:defRPr>
      </a:lvl7pPr>
      <a:lvl8pPr marL="3528353" algn="l" defTabSz="1008101" rtl="0" eaLnBrk="1" latinLnBrk="0" hangingPunct="1">
        <a:defRPr sz="2095" kern="1200">
          <a:solidFill>
            <a:schemeClr val="tx1"/>
          </a:solidFill>
          <a:latin typeface="+mn-lt"/>
          <a:ea typeface="+mn-ea"/>
          <a:cs typeface="+mn-cs"/>
        </a:defRPr>
      </a:lvl8pPr>
      <a:lvl9pPr marL="4032404" algn="l" defTabSz="1008101" rtl="0" eaLnBrk="1" latinLnBrk="0" hangingPunct="1">
        <a:defRPr sz="2095"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177680"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2015030989"/>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706"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a:xfrm>
            <a:off x="1" y="1"/>
            <a:ext cx="13442950" cy="756126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315"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cxnSp>
        <p:nvCxnSpPr>
          <p:cNvPr id="71" name="Straight Connector 70"/>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5" name="Picture 4"/>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84950" y="6942531"/>
            <a:ext cx="1402522" cy="488102"/>
          </a:xfrm>
          <a:prstGeom prst="rect">
            <a:avLst/>
          </a:prstGeom>
        </p:spPr>
      </p:pic>
      <p:cxnSp>
        <p:nvCxnSpPr>
          <p:cNvPr id="7" name="Straight Connector 6"/>
          <p:cNvCxnSpPr/>
          <p:nvPr userDrawn="1"/>
        </p:nvCxnSpPr>
        <p:spPr>
          <a:xfrm>
            <a:off x="0" y="6792023"/>
            <a:ext cx="1344295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743" r:id="rId8"/>
    <p:sldLayoutId id="2147483694" r:id="rId9"/>
    <p:sldLayoutId id="2147483695" r:id="rId10"/>
    <p:sldLayoutId id="2147483697" r:id="rId11"/>
    <p:sldLayoutId id="2147483920"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3898" name="think-cell Slide" r:id="rId22" imgW="6350000" imgH="6350000" progId="">
                  <p:embed/>
                </p:oleObj>
              </mc:Choice>
              <mc:Fallback>
                <p:oleObj name="think-cell Slide" r:id="rId22" imgW="6350000" imgH="635000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1" y="1"/>
            <a:ext cx="13442950" cy="756126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12" name="Picture 11"/>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3" name="Picture 12"/>
          <p:cNvPicPr>
            <a:picLocks noChangeAspect="1"/>
          </p:cNvPicPr>
          <p:nvPr userDrawn="1"/>
        </p:nvPicPr>
        <p:blipFill>
          <a:blip r:embed="rId25">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4" name="Straight Connector 13"/>
          <p:cNvCxnSpPr/>
          <p:nvPr userDrawn="1"/>
        </p:nvCxnSpPr>
        <p:spPr>
          <a:xfrm>
            <a:off x="1234675" y="7153109"/>
            <a:ext cx="0" cy="3274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3698" r:id="rId3"/>
    <p:sldLayoutId id="2147483699" r:id="rId4"/>
    <p:sldLayoutId id="2147483700" r:id="rId5"/>
    <p:sldLayoutId id="2147483739"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482" name="think-cell Slide" r:id="rId17" imgW="6350000" imgH="6350000" progId="">
                  <p:embed/>
                </p:oleObj>
              </mc:Choice>
              <mc:Fallback>
                <p:oleObj name="think-cell Slide" r:id="rId17" imgW="6350000" imgH="6350000" progId="">
                  <p:embed/>
                  <p:pic>
                    <p:nvPicPr>
                      <p:cNvPr id="0"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065"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3714"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665"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217"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87432"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898"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506"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6.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04137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3982350"/>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0" y="2100400"/>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492332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0" y="115942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828744" y="1749021"/>
            <a:ext cx="7785463" cy="707886"/>
          </a:xfrm>
          <a:prstGeom prst="rect">
            <a:avLst/>
          </a:prstGeom>
          <a:noFill/>
          <a:ln>
            <a:noFill/>
          </a:ln>
        </p:spPr>
        <p:txBody>
          <a:bodyPr wrap="square" rtlCol="0">
            <a:spAutoFit/>
          </a:bodyPr>
          <a:lstStyle/>
          <a:p>
            <a:pPr algn="ctr"/>
            <a:r>
              <a:rPr lang="en-US" sz="4000" spc="250" dirty="0">
                <a:solidFill>
                  <a:srgbClr val="FB3449"/>
                </a:solidFill>
                <a:latin typeface="Impact" charset="0"/>
                <a:ea typeface="Impact" charset="0"/>
                <a:cs typeface="Impact" charset="0"/>
              </a:rPr>
              <a:t>BUILDING BOX OFFICE BRANDS IV</a:t>
            </a:r>
          </a:p>
        </p:txBody>
      </p:sp>
      <p:sp>
        <p:nvSpPr>
          <p:cNvPr id="10" name="TextBox 9"/>
          <p:cNvSpPr txBox="1"/>
          <p:nvPr/>
        </p:nvSpPr>
        <p:spPr>
          <a:xfrm>
            <a:off x="409474" y="2437436"/>
            <a:ext cx="12624003" cy="2246769"/>
          </a:xfrm>
          <a:prstGeom prst="rect">
            <a:avLst/>
          </a:prstGeom>
          <a:noFill/>
          <a:ln>
            <a:noFill/>
          </a:ln>
        </p:spPr>
        <p:txBody>
          <a:bodyPr wrap="square" rtlCol="0">
            <a:spAutoFit/>
          </a:bodyPr>
          <a:lstStyle/>
          <a:p>
            <a:pPr algn="ctr"/>
            <a:r>
              <a:rPr lang="en-US" sz="14000" i="1" spc="100" dirty="0">
                <a:solidFill>
                  <a:srgbClr val="FFFFFF"/>
                </a:solidFill>
                <a:latin typeface="Impact" charset="0"/>
                <a:ea typeface="Impact" charset="0"/>
                <a:cs typeface="Impact" charset="0"/>
              </a:rPr>
              <a:t>MISSION 16-34</a:t>
            </a:r>
          </a:p>
        </p:txBody>
      </p:sp>
      <p:cxnSp>
        <p:nvCxnSpPr>
          <p:cNvPr id="22" name="Straight Connector 21"/>
          <p:cNvCxnSpPr/>
          <p:nvPr/>
        </p:nvCxnSpPr>
        <p:spPr>
          <a:xfrm>
            <a:off x="0" y="5864301"/>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828744" y="4569381"/>
            <a:ext cx="7785463" cy="707886"/>
          </a:xfrm>
          <a:prstGeom prst="rect">
            <a:avLst/>
          </a:prstGeom>
          <a:noFill/>
          <a:ln>
            <a:noFill/>
          </a:ln>
        </p:spPr>
        <p:txBody>
          <a:bodyPr wrap="square" rtlCol="0">
            <a:spAutoFit/>
          </a:bodyPr>
          <a:lstStyle/>
          <a:p>
            <a:pPr algn="ctr"/>
            <a:r>
              <a:rPr lang="en-US" sz="4000" spc="250">
                <a:solidFill>
                  <a:srgbClr val="FB3449"/>
                </a:solidFill>
                <a:latin typeface="Impact" charset="0"/>
                <a:ea typeface="Impact" charset="0"/>
                <a:cs typeface="Impact" charset="0"/>
              </a:rPr>
              <a:t>LAUNCH, LAND, IMPACT</a:t>
            </a:r>
            <a:endParaRPr lang="en-US" sz="4000" spc="250" dirty="0">
              <a:solidFill>
                <a:srgbClr val="FB3449"/>
              </a:solidFill>
              <a:latin typeface="Impact" charset="0"/>
              <a:ea typeface="Impact" charset="0"/>
              <a:cs typeface="Impact" charset="0"/>
            </a:endParaRPr>
          </a:p>
        </p:txBody>
      </p:sp>
    </p:spTree>
    <p:extLst>
      <p:ext uri="{BB962C8B-B14F-4D97-AF65-F5344CB8AC3E}">
        <p14:creationId xmlns:p14="http://schemas.microsoft.com/office/powerpoint/2010/main" val="1088697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6096" y="202012"/>
            <a:ext cx="12413343" cy="409568"/>
          </a:xfrm>
        </p:spPr>
        <p:txBody>
          <a:bodyPr/>
          <a:lstStyle/>
          <a:p>
            <a:r>
              <a:rPr lang="en-GB" sz="2800" spc="100" dirty="0">
                <a:solidFill>
                  <a:srgbClr val="FFFFFF"/>
                </a:solidFill>
              </a:rPr>
              <a:t>THE APPROACH</a:t>
            </a:r>
          </a:p>
        </p:txBody>
      </p:sp>
      <p:sp>
        <p:nvSpPr>
          <p:cNvPr id="22" name="TextBox 21">
            <a:extLst>
              <a:ext uri="{FF2B5EF4-FFF2-40B4-BE49-F238E27FC236}">
                <a16:creationId xmlns:a16="http://schemas.microsoft.com/office/drawing/2014/main" id="{F59198F8-AAB6-42A6-B74D-9D2B03F089B4}"/>
              </a:ext>
            </a:extLst>
          </p:cNvPr>
          <p:cNvSpPr txBox="1"/>
          <p:nvPr/>
        </p:nvSpPr>
        <p:spPr>
          <a:xfrm>
            <a:off x="822723" y="4375779"/>
            <a:ext cx="3340668" cy="1569660"/>
          </a:xfrm>
          <a:prstGeom prst="rect">
            <a:avLst/>
          </a:prstGeom>
          <a:noFill/>
          <a:ln>
            <a:noFill/>
          </a:ln>
        </p:spPr>
        <p:txBody>
          <a:bodyPr wrap="square" rtlCol="0">
            <a:spAutoFit/>
          </a:bodyPr>
          <a:lstStyle/>
          <a:p>
            <a:pPr defTabSz="961706"/>
            <a:r>
              <a:rPr lang="en-GB" sz="1200" dirty="0">
                <a:solidFill>
                  <a:srgbClr val="FFFFFF"/>
                </a:solidFill>
                <a:latin typeface="Arial"/>
              </a:rPr>
              <a:t>15 participants were recruited from across the UK (Birmingham, Edinburgh, London &amp; Manchester)</a:t>
            </a:r>
          </a:p>
          <a:p>
            <a:pPr defTabSz="961706"/>
            <a:endParaRPr lang="en-GB" sz="1200" dirty="0">
              <a:solidFill>
                <a:srgbClr val="FFFFFF"/>
              </a:solidFill>
              <a:latin typeface="Arial"/>
            </a:endParaRPr>
          </a:p>
          <a:p>
            <a:pPr defTabSz="961706"/>
            <a:r>
              <a:rPr lang="en-GB" sz="1200" dirty="0">
                <a:solidFill>
                  <a:srgbClr val="FFFFFF"/>
                </a:solidFill>
                <a:latin typeface="Arial"/>
              </a:rPr>
              <a:t>They took part in a 5-day online community designed to capture AV habits and explore the role of different content</a:t>
            </a:r>
          </a:p>
          <a:p>
            <a:pPr defTabSz="961706"/>
            <a:endParaRPr lang="en-GB" sz="1200" dirty="0">
              <a:solidFill>
                <a:srgbClr val="FFFFFF"/>
              </a:solidFill>
              <a:latin typeface="Arial"/>
            </a:endParaRPr>
          </a:p>
        </p:txBody>
      </p:sp>
      <p:sp>
        <p:nvSpPr>
          <p:cNvPr id="23" name="TextBox 22">
            <a:extLst>
              <a:ext uri="{FF2B5EF4-FFF2-40B4-BE49-F238E27FC236}">
                <a16:creationId xmlns:a16="http://schemas.microsoft.com/office/drawing/2014/main" id="{00AC997D-51EA-4C97-A0F4-A55B05756FDC}"/>
              </a:ext>
            </a:extLst>
          </p:cNvPr>
          <p:cNvSpPr txBox="1"/>
          <p:nvPr/>
        </p:nvSpPr>
        <p:spPr>
          <a:xfrm>
            <a:off x="5058432" y="4375779"/>
            <a:ext cx="3376442" cy="1569660"/>
          </a:xfrm>
          <a:prstGeom prst="rect">
            <a:avLst/>
          </a:prstGeom>
          <a:noFill/>
          <a:ln>
            <a:noFill/>
          </a:ln>
        </p:spPr>
        <p:txBody>
          <a:bodyPr wrap="square" rtlCol="0">
            <a:spAutoFit/>
          </a:bodyPr>
          <a:lstStyle/>
          <a:p>
            <a:pPr defTabSz="961706"/>
            <a:r>
              <a:rPr lang="en-GB" sz="1200" dirty="0">
                <a:solidFill>
                  <a:srgbClr val="FFFFFF"/>
                </a:solidFill>
                <a:latin typeface="Arial"/>
              </a:rPr>
              <a:t>12 participants were invited to the cinema where they were exposed to a typical 11-min ad reel in-situ</a:t>
            </a:r>
          </a:p>
          <a:p>
            <a:pPr defTabSz="961706"/>
            <a:endParaRPr lang="en-GB" sz="1200" dirty="0">
              <a:solidFill>
                <a:srgbClr val="FFFFFF"/>
              </a:solidFill>
              <a:latin typeface="Arial"/>
            </a:endParaRPr>
          </a:p>
          <a:p>
            <a:pPr defTabSz="961706"/>
            <a:r>
              <a:rPr lang="en-GB" sz="1200" dirty="0">
                <a:solidFill>
                  <a:srgbClr val="FFFFFF"/>
                </a:solidFill>
                <a:latin typeface="Arial"/>
              </a:rPr>
              <a:t>They took part in 90 minute focus group designed to unearth the specifics of the cinema experience and define the impact of cinema advertising</a:t>
            </a:r>
          </a:p>
        </p:txBody>
      </p:sp>
      <p:sp>
        <p:nvSpPr>
          <p:cNvPr id="24" name="TextBox 23">
            <a:extLst>
              <a:ext uri="{FF2B5EF4-FFF2-40B4-BE49-F238E27FC236}">
                <a16:creationId xmlns:a16="http://schemas.microsoft.com/office/drawing/2014/main" id="{35761893-4E5F-4FB5-AC27-C9881A0145BC}"/>
              </a:ext>
            </a:extLst>
          </p:cNvPr>
          <p:cNvSpPr txBox="1"/>
          <p:nvPr/>
        </p:nvSpPr>
        <p:spPr>
          <a:xfrm>
            <a:off x="9234012" y="4375779"/>
            <a:ext cx="3581054" cy="1754326"/>
          </a:xfrm>
          <a:prstGeom prst="rect">
            <a:avLst/>
          </a:prstGeom>
          <a:noFill/>
          <a:ln>
            <a:noFill/>
          </a:ln>
        </p:spPr>
        <p:txBody>
          <a:bodyPr wrap="square" rtlCol="0">
            <a:spAutoFit/>
          </a:bodyPr>
          <a:lstStyle/>
          <a:p>
            <a:pPr defTabSz="961706"/>
            <a:r>
              <a:rPr lang="en-GB" sz="1200" dirty="0">
                <a:solidFill>
                  <a:srgbClr val="FFFFFF"/>
                </a:solidFill>
                <a:latin typeface="Arial"/>
              </a:rPr>
              <a:t>Nationally representative sample of 1,000 16-34s completed a 15 minute survey designed to further understand and quantify the themes discovered in the Explore &amp; Define stage</a:t>
            </a:r>
          </a:p>
          <a:p>
            <a:pPr defTabSz="961706"/>
            <a:endParaRPr lang="en-GB" sz="1200" dirty="0">
              <a:solidFill>
                <a:srgbClr val="FFFFFF"/>
              </a:solidFill>
              <a:latin typeface="Arial"/>
            </a:endParaRPr>
          </a:p>
          <a:p>
            <a:pPr defTabSz="961706"/>
            <a:r>
              <a:rPr lang="en-GB" sz="1200" dirty="0">
                <a:solidFill>
                  <a:srgbClr val="FFFFFF"/>
                </a:solidFill>
                <a:latin typeface="Arial"/>
              </a:rPr>
              <a:t>Differentology also undertook a meta-analysis of 12 cinema ad effectiveness projects to understand the average uplifts delivered by cinema. </a:t>
            </a:r>
          </a:p>
          <a:p>
            <a:pPr defTabSz="961706"/>
            <a:endParaRPr lang="en-GB" sz="1200" dirty="0">
              <a:solidFill>
                <a:srgbClr val="FFFFFF"/>
              </a:solidFill>
              <a:latin typeface="Arial"/>
            </a:endParaRPr>
          </a:p>
        </p:txBody>
      </p:sp>
      <p:sp>
        <p:nvSpPr>
          <p:cNvPr id="12" name="Oval 11">
            <a:extLst>
              <a:ext uri="{FF2B5EF4-FFF2-40B4-BE49-F238E27FC236}">
                <a16:creationId xmlns:a16="http://schemas.microsoft.com/office/drawing/2014/main" id="{28936578-0609-4280-A9DD-64C36EDAF2BB}"/>
              </a:ext>
            </a:extLst>
          </p:cNvPr>
          <p:cNvSpPr/>
          <p:nvPr/>
        </p:nvSpPr>
        <p:spPr>
          <a:xfrm>
            <a:off x="1202488" y="1463599"/>
            <a:ext cx="2581139" cy="2590664"/>
          </a:xfrm>
          <a:prstGeom prst="ellipse">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706"/>
            <a:r>
              <a:rPr lang="en-GB" sz="3199" spc="200" dirty="0">
                <a:solidFill>
                  <a:srgbClr val="FFFFFF"/>
                </a:solidFill>
                <a:latin typeface="Impact" panose="020B0806030902050204" pitchFamily="34" charset="0"/>
              </a:rPr>
              <a:t>EXPLORE</a:t>
            </a:r>
          </a:p>
          <a:p>
            <a:pPr algn="ctr" defTabSz="961706"/>
            <a:r>
              <a:rPr lang="en-GB" sz="1500" i="1" spc="200" dirty="0">
                <a:solidFill>
                  <a:srgbClr val="FFFFFF"/>
                </a:solidFill>
                <a:latin typeface="Arial" charset="0"/>
                <a:ea typeface="Arial" charset="0"/>
                <a:cs typeface="Arial" charset="0"/>
              </a:rPr>
              <a:t>AV HABITS</a:t>
            </a:r>
          </a:p>
        </p:txBody>
      </p:sp>
      <p:sp>
        <p:nvSpPr>
          <p:cNvPr id="13" name="Oval 12">
            <a:extLst>
              <a:ext uri="{FF2B5EF4-FFF2-40B4-BE49-F238E27FC236}">
                <a16:creationId xmlns:a16="http://schemas.microsoft.com/office/drawing/2014/main" id="{D05777BF-0C27-4D0D-949A-8C8D2EA81855}"/>
              </a:ext>
            </a:extLst>
          </p:cNvPr>
          <p:cNvSpPr/>
          <p:nvPr/>
        </p:nvSpPr>
        <p:spPr>
          <a:xfrm>
            <a:off x="5430906" y="1463599"/>
            <a:ext cx="2581139" cy="2590664"/>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61706"/>
            <a:r>
              <a:rPr lang="en-GB" sz="3199" spc="200" dirty="0">
                <a:solidFill>
                  <a:srgbClr val="FFFFFF"/>
                </a:solidFill>
                <a:latin typeface="Impact" panose="020B0806030902050204" pitchFamily="34" charset="0"/>
              </a:rPr>
              <a:t>DEFINE</a:t>
            </a:r>
          </a:p>
          <a:p>
            <a:pPr algn="ctr" defTabSz="961706"/>
            <a:r>
              <a:rPr lang="en-GB" sz="1500" i="1" spc="200" dirty="0">
                <a:solidFill>
                  <a:srgbClr val="FFFFFF"/>
                </a:solidFill>
                <a:latin typeface="Arial" charset="0"/>
                <a:ea typeface="Arial" charset="0"/>
                <a:cs typeface="Arial" charset="0"/>
              </a:rPr>
              <a:t>CINEMA EXPERIENCE</a:t>
            </a:r>
          </a:p>
        </p:txBody>
      </p:sp>
      <p:sp>
        <p:nvSpPr>
          <p:cNvPr id="14" name="Oval 13">
            <a:extLst>
              <a:ext uri="{FF2B5EF4-FFF2-40B4-BE49-F238E27FC236}">
                <a16:creationId xmlns:a16="http://schemas.microsoft.com/office/drawing/2014/main" id="{8F9FD612-4213-4101-AD6D-0946AA04410A}"/>
              </a:ext>
            </a:extLst>
          </p:cNvPr>
          <p:cNvSpPr/>
          <p:nvPr/>
        </p:nvSpPr>
        <p:spPr>
          <a:xfrm>
            <a:off x="9659324" y="1463599"/>
            <a:ext cx="2581139" cy="2590664"/>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61706"/>
            <a:r>
              <a:rPr lang="en-GB" sz="3199" spc="200" dirty="0">
                <a:solidFill>
                  <a:srgbClr val="FFFFFF"/>
                </a:solidFill>
                <a:latin typeface="Impact" panose="020B0806030902050204" pitchFamily="34" charset="0"/>
              </a:rPr>
              <a:t>QUANTIFY</a:t>
            </a:r>
          </a:p>
          <a:p>
            <a:pPr algn="ctr" defTabSz="961706"/>
            <a:r>
              <a:rPr lang="en-GB" sz="1500" i="1" spc="200" dirty="0">
                <a:solidFill>
                  <a:srgbClr val="FFFFFF"/>
                </a:solidFill>
                <a:latin typeface="Arial" charset="0"/>
                <a:ea typeface="Arial" charset="0"/>
                <a:cs typeface="Arial" charset="0"/>
              </a:rPr>
              <a:t>KEY THEMES</a:t>
            </a:r>
          </a:p>
        </p:txBody>
      </p:sp>
    </p:spTree>
    <p:extLst>
      <p:ext uri="{BB962C8B-B14F-4D97-AF65-F5344CB8AC3E}">
        <p14:creationId xmlns:p14="http://schemas.microsoft.com/office/powerpoint/2010/main" val="148951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13" grpId="0" animBg="1"/>
      <p:bldP spid="1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8A9535-83BC-9448-9A64-BE28046410AC}"/>
              </a:ext>
            </a:extLst>
          </p:cNvPr>
          <p:cNvSpPr/>
          <p:nvPr/>
        </p:nvSpPr>
        <p:spPr>
          <a:xfrm>
            <a:off x="5448357" y="7166055"/>
            <a:ext cx="7765892" cy="246221"/>
          </a:xfrm>
          <a:prstGeom prst="rect">
            <a:avLst/>
          </a:prstGeom>
        </p:spPr>
        <p:txBody>
          <a:bodyPr wrap="square" lIns="0" tIns="0" rIns="0" bIns="0">
            <a:spAutoFit/>
          </a:bodyPr>
          <a:lstStyle/>
          <a:p>
            <a:pPr algn="r" defTabSz="1008126"/>
            <a:r>
              <a:rPr lang="en-US" sz="800" dirty="0">
                <a:solidFill>
                  <a:prstClr val="white"/>
                </a:solidFill>
                <a:latin typeface="Arial" charset="0"/>
                <a:ea typeface="Arial" charset="0"/>
                <a:cs typeface="Arial" charset="0"/>
              </a:rPr>
              <a:t>Q. To what extent do you agree or disagree with the following statements? (10 point scale – top 5 responses shown) </a:t>
            </a:r>
          </a:p>
          <a:p>
            <a:pPr algn="r" defTabSz="1008126"/>
            <a:r>
              <a:rPr lang="en-US" sz="800" dirty="0">
                <a:solidFill>
                  <a:prstClr val="white"/>
                </a:solidFill>
                <a:latin typeface="Arial" charset="0"/>
                <a:ea typeface="Arial" charset="0"/>
                <a:cs typeface="Arial" charset="0"/>
              </a:rPr>
              <a:t>Base: 1000 ‘16-34s’</a:t>
            </a:r>
          </a:p>
        </p:txBody>
      </p:sp>
      <p:sp>
        <p:nvSpPr>
          <p:cNvPr id="2" name="TextBox 1"/>
          <p:cNvSpPr txBox="1"/>
          <p:nvPr/>
        </p:nvSpPr>
        <p:spPr>
          <a:xfrm>
            <a:off x="1053601" y="3010107"/>
            <a:ext cx="11335748" cy="861774"/>
          </a:xfrm>
          <a:prstGeom prst="rect">
            <a:avLst/>
          </a:prstGeom>
          <a:noFill/>
          <a:ln>
            <a:noFill/>
          </a:ln>
        </p:spPr>
        <p:txBody>
          <a:bodyPr wrap="square" rtlCol="0">
            <a:spAutoFit/>
          </a:bodyPr>
          <a:lstStyle/>
          <a:p>
            <a:pPr algn="ctr"/>
            <a:r>
              <a:rPr lang="en-US" sz="5000" spc="150" dirty="0">
                <a:solidFill>
                  <a:srgbClr val="FFFFFF"/>
                </a:solidFill>
                <a:latin typeface="Impact" charset="0"/>
                <a:ea typeface="Impact" charset="0"/>
                <a:cs typeface="Impact" charset="0"/>
              </a:rPr>
              <a:t>16-34s </a:t>
            </a:r>
            <a:r>
              <a:rPr lang="en-US" sz="5000" spc="150">
                <a:solidFill>
                  <a:srgbClr val="FFFFFF"/>
                </a:solidFill>
                <a:latin typeface="Impact" charset="0"/>
                <a:ea typeface="Impact" charset="0"/>
                <a:cs typeface="Impact" charset="0"/>
              </a:rPr>
              <a:t>FEEL </a:t>
            </a:r>
            <a:r>
              <a:rPr lang="en-US" sz="5000" i="1" spc="150">
                <a:solidFill>
                  <a:srgbClr val="FFFFFF"/>
                </a:solidFill>
                <a:latin typeface="Impact" charset="0"/>
                <a:ea typeface="Impact" charset="0"/>
                <a:cs typeface="Impact" charset="0"/>
              </a:rPr>
              <a:t>‘</a:t>
            </a:r>
            <a:r>
              <a:rPr lang="en-US" sz="5000" i="1" spc="150" dirty="0">
                <a:solidFill>
                  <a:srgbClr val="FFFFFF"/>
                </a:solidFill>
                <a:latin typeface="Impact" charset="0"/>
                <a:ea typeface="Impact" charset="0"/>
                <a:cs typeface="Impact" charset="0"/>
              </a:rPr>
              <a:t>HOUNDED BY ADVERTISING’</a:t>
            </a:r>
          </a:p>
        </p:txBody>
      </p:sp>
      <p:sp>
        <p:nvSpPr>
          <p:cNvPr id="14" name="TextBox 13"/>
          <p:cNvSpPr txBox="1"/>
          <p:nvPr/>
        </p:nvSpPr>
        <p:spPr>
          <a:xfrm>
            <a:off x="2206081" y="1264687"/>
            <a:ext cx="9030789" cy="1938992"/>
          </a:xfrm>
          <a:prstGeom prst="rect">
            <a:avLst/>
          </a:prstGeom>
          <a:noFill/>
          <a:ln>
            <a:noFill/>
          </a:ln>
        </p:spPr>
        <p:txBody>
          <a:bodyPr wrap="square" rtlCol="0">
            <a:spAutoFit/>
          </a:bodyPr>
          <a:lstStyle/>
          <a:p>
            <a:pPr algn="ctr"/>
            <a:r>
              <a:rPr lang="en-US" sz="12000" spc="100" dirty="0">
                <a:solidFill>
                  <a:srgbClr val="FFFFFF"/>
                </a:solidFill>
                <a:latin typeface="Impact" charset="0"/>
                <a:ea typeface="Impact" charset="0"/>
                <a:cs typeface="Impact" charset="0"/>
              </a:rPr>
              <a:t>7 IN 10</a:t>
            </a:r>
          </a:p>
        </p:txBody>
      </p:sp>
      <p:grpSp>
        <p:nvGrpSpPr>
          <p:cNvPr id="12" name="Group 11"/>
          <p:cNvGrpSpPr/>
          <p:nvPr/>
        </p:nvGrpSpPr>
        <p:grpSpPr>
          <a:xfrm>
            <a:off x="727246" y="4156905"/>
            <a:ext cx="11988458" cy="1085850"/>
            <a:chOff x="729812" y="2878659"/>
            <a:chExt cx="11988458" cy="1085850"/>
          </a:xfrm>
        </p:grpSpPr>
        <p:sp>
          <p:nvSpPr>
            <p:cNvPr id="15" name="Freeform 299"/>
            <p:cNvSpPr>
              <a:spLocks noEditPoints="1"/>
            </p:cNvSpPr>
            <p:nvPr/>
          </p:nvSpPr>
          <p:spPr bwMode="auto">
            <a:xfrm>
              <a:off x="729812"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95"/>
            <p:cNvSpPr>
              <a:spLocks noEditPoints="1"/>
            </p:cNvSpPr>
            <p:nvPr/>
          </p:nvSpPr>
          <p:spPr bwMode="auto">
            <a:xfrm>
              <a:off x="1941036"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299"/>
            <p:cNvSpPr>
              <a:spLocks noEditPoints="1"/>
            </p:cNvSpPr>
            <p:nvPr/>
          </p:nvSpPr>
          <p:spPr bwMode="auto">
            <a:xfrm>
              <a:off x="3152261"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295"/>
            <p:cNvSpPr>
              <a:spLocks noEditPoints="1"/>
            </p:cNvSpPr>
            <p:nvPr/>
          </p:nvSpPr>
          <p:spPr bwMode="auto">
            <a:xfrm>
              <a:off x="4363485"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299"/>
            <p:cNvSpPr>
              <a:spLocks noEditPoints="1"/>
            </p:cNvSpPr>
            <p:nvPr/>
          </p:nvSpPr>
          <p:spPr bwMode="auto">
            <a:xfrm>
              <a:off x="5574710"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Freeform 295"/>
            <p:cNvSpPr>
              <a:spLocks noEditPoints="1"/>
            </p:cNvSpPr>
            <p:nvPr/>
          </p:nvSpPr>
          <p:spPr bwMode="auto">
            <a:xfrm>
              <a:off x="6785934"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4" name="Freeform 299"/>
            <p:cNvSpPr>
              <a:spLocks noEditPoints="1"/>
            </p:cNvSpPr>
            <p:nvPr/>
          </p:nvSpPr>
          <p:spPr bwMode="auto">
            <a:xfrm>
              <a:off x="7997159"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Freeform 295"/>
            <p:cNvSpPr>
              <a:spLocks noEditPoints="1"/>
            </p:cNvSpPr>
            <p:nvPr/>
          </p:nvSpPr>
          <p:spPr bwMode="auto">
            <a:xfrm>
              <a:off x="9208383"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299"/>
            <p:cNvSpPr>
              <a:spLocks noEditPoints="1"/>
            </p:cNvSpPr>
            <p:nvPr/>
          </p:nvSpPr>
          <p:spPr bwMode="auto">
            <a:xfrm>
              <a:off x="10419608"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295"/>
            <p:cNvSpPr>
              <a:spLocks noEditPoints="1"/>
            </p:cNvSpPr>
            <p:nvPr/>
          </p:nvSpPr>
          <p:spPr bwMode="auto">
            <a:xfrm>
              <a:off x="11630832"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130428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5226"/>
            <a:ext cx="12413343" cy="409568"/>
          </a:xfrm>
        </p:spPr>
        <p:txBody>
          <a:bodyPr/>
          <a:lstStyle/>
          <a:p>
            <a:r>
              <a:rPr lang="en-GB" sz="2800" spc="100" dirty="0"/>
              <a:t>CINEMA OCCUPIES A UNIQUE ROLE IN THE WORLD OF AV</a:t>
            </a:r>
            <a:endParaRPr lang="en-GB" sz="2800" spc="100" dirty="0">
              <a:solidFill>
                <a:srgbClr val="FFFFFF"/>
              </a:solidFill>
            </a:endParaRPr>
          </a:p>
        </p:txBody>
      </p:sp>
      <p:sp>
        <p:nvSpPr>
          <p:cNvPr id="29" name="Rectangle 28">
            <a:extLst>
              <a:ext uri="{FF2B5EF4-FFF2-40B4-BE49-F238E27FC236}">
                <a16:creationId xmlns:a16="http://schemas.microsoft.com/office/drawing/2014/main" id="{4F442DEF-7E9E-2B4B-8FF6-49BFEBCA29E5}"/>
              </a:ext>
            </a:extLst>
          </p:cNvPr>
          <p:cNvSpPr/>
          <p:nvPr/>
        </p:nvSpPr>
        <p:spPr>
          <a:xfrm>
            <a:off x="5537674" y="7129534"/>
            <a:ext cx="7765892" cy="369332"/>
          </a:xfrm>
          <a:prstGeom prst="rect">
            <a:avLst/>
          </a:prstGeom>
        </p:spPr>
        <p:txBody>
          <a:bodyPr wrap="square" lIns="0" tIns="0" rIns="0" bIns="0">
            <a:spAutoFit/>
          </a:bodyPr>
          <a:lstStyle/>
          <a:p>
            <a:pPr algn="r" defTabSz="1008126"/>
            <a:r>
              <a:rPr lang="en-US" sz="800" dirty="0">
                <a:solidFill>
                  <a:srgbClr val="FFFFFF"/>
                </a:solidFill>
                <a:latin typeface="Arial" charset="0"/>
                <a:ea typeface="Arial" charset="0"/>
                <a:cs typeface="Arial" charset="0"/>
              </a:rPr>
              <a:t>Q. Which of the following words and phrases do you associate with […]? </a:t>
            </a:r>
          </a:p>
          <a:p>
            <a:pPr algn="r" defTabSz="1008126"/>
            <a:r>
              <a:rPr lang="en-US" sz="800" dirty="0">
                <a:solidFill>
                  <a:srgbClr val="FFFFFF"/>
                </a:solidFill>
                <a:latin typeface="Arial" charset="0"/>
                <a:ea typeface="Arial" charset="0"/>
                <a:cs typeface="Arial" charset="0"/>
              </a:rPr>
              <a:t>Bold text indicates where a phrase was most frequently associated</a:t>
            </a:r>
          </a:p>
          <a:p>
            <a:pPr algn="r" defTabSz="1008126"/>
            <a:r>
              <a:rPr lang="en-US" sz="800" dirty="0">
                <a:solidFill>
                  <a:srgbClr val="FFFFFF"/>
                </a:solidFill>
                <a:latin typeface="Arial" charset="0"/>
                <a:ea typeface="Arial" charset="0"/>
                <a:cs typeface="Arial" charset="0"/>
              </a:rPr>
              <a:t>Base: 1000 ‘16-34s’</a:t>
            </a:r>
          </a:p>
        </p:txBody>
      </p:sp>
      <p:graphicFrame>
        <p:nvGraphicFramePr>
          <p:cNvPr id="30" name="Table 29">
            <a:extLst>
              <a:ext uri="{FF2B5EF4-FFF2-40B4-BE49-F238E27FC236}">
                <a16:creationId xmlns:a16="http://schemas.microsoft.com/office/drawing/2014/main" id="{EB3874DA-F776-CB4E-BE29-4B9FB2FD909F}"/>
              </a:ext>
            </a:extLst>
          </p:cNvPr>
          <p:cNvGraphicFramePr>
            <a:graphicFrameLocks noGrp="1"/>
          </p:cNvGraphicFramePr>
          <p:nvPr>
            <p:extLst>
              <p:ext uri="{D42A27DB-BD31-4B8C-83A1-F6EECF244321}">
                <p14:modId xmlns:p14="http://schemas.microsoft.com/office/powerpoint/2010/main" val="1602078994"/>
              </p:ext>
            </p:extLst>
          </p:nvPr>
        </p:nvGraphicFramePr>
        <p:xfrm>
          <a:off x="10594892" y="2607262"/>
          <a:ext cx="2088451" cy="2519804"/>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9951">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CINEMA</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Shared experienc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igh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1%</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1" name="Table 30">
            <a:extLst>
              <a:ext uri="{FF2B5EF4-FFF2-40B4-BE49-F238E27FC236}">
                <a16:creationId xmlns:a16="http://schemas.microsoft.com/office/drawing/2014/main" id="{0D138BD1-6420-764B-B677-E84326A5B6DF}"/>
              </a:ext>
            </a:extLst>
          </p:cNvPr>
          <p:cNvGraphicFramePr>
            <a:graphicFrameLocks noGrp="1"/>
          </p:cNvGraphicFramePr>
          <p:nvPr>
            <p:extLst>
              <p:ext uri="{D42A27DB-BD31-4B8C-83A1-F6EECF244321}">
                <p14:modId xmlns:p14="http://schemas.microsoft.com/office/powerpoint/2010/main" val="991686072"/>
              </p:ext>
            </p:extLst>
          </p:nvPr>
        </p:nvGraphicFramePr>
        <p:xfrm>
          <a:off x="664717" y="2607262"/>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LIVE TV</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ackground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Comfort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1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2" name="Table 31">
            <a:extLst>
              <a:ext uri="{FF2B5EF4-FFF2-40B4-BE49-F238E27FC236}">
                <a16:creationId xmlns:a16="http://schemas.microsoft.com/office/drawing/2014/main" id="{48C64E72-1472-E445-B5BD-99F597CC34E5}"/>
              </a:ext>
            </a:extLst>
          </p:cNvPr>
          <p:cNvGraphicFramePr>
            <a:graphicFrameLocks noGrp="1"/>
          </p:cNvGraphicFramePr>
          <p:nvPr>
            <p:extLst>
              <p:ext uri="{D42A27DB-BD31-4B8C-83A1-F6EECF244321}">
                <p14:modId xmlns:p14="http://schemas.microsoft.com/office/powerpoint/2010/main" val="647227737"/>
              </p:ext>
            </p:extLst>
          </p:nvPr>
        </p:nvGraphicFramePr>
        <p:xfrm>
          <a:off x="3147261" y="2607262"/>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VOD</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3" name="Table 32">
            <a:extLst>
              <a:ext uri="{FF2B5EF4-FFF2-40B4-BE49-F238E27FC236}">
                <a16:creationId xmlns:a16="http://schemas.microsoft.com/office/drawing/2014/main" id="{9808C359-257C-B44D-902D-37F988C9BDFA}"/>
              </a:ext>
            </a:extLst>
          </p:cNvPr>
          <p:cNvGraphicFramePr>
            <a:graphicFrameLocks noGrp="1"/>
          </p:cNvGraphicFramePr>
          <p:nvPr>
            <p:extLst>
              <p:ext uri="{D42A27DB-BD31-4B8C-83A1-F6EECF244321}">
                <p14:modId xmlns:p14="http://schemas.microsoft.com/office/powerpoint/2010/main" val="951903704"/>
              </p:ext>
            </p:extLst>
          </p:nvPr>
        </p:nvGraphicFramePr>
        <p:xfrm>
          <a:off x="5629805" y="2607262"/>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YOUTUBE</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4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4" name="Table 33">
            <a:extLst>
              <a:ext uri="{FF2B5EF4-FFF2-40B4-BE49-F238E27FC236}">
                <a16:creationId xmlns:a16="http://schemas.microsoft.com/office/drawing/2014/main" id="{042DD344-D7C6-754A-9811-B94A1BDC9609}"/>
              </a:ext>
            </a:extLst>
          </p:cNvPr>
          <p:cNvGraphicFramePr>
            <a:graphicFrameLocks noGrp="1"/>
          </p:cNvGraphicFramePr>
          <p:nvPr>
            <p:extLst>
              <p:ext uri="{D42A27DB-BD31-4B8C-83A1-F6EECF244321}">
                <p14:modId xmlns:p14="http://schemas.microsoft.com/office/powerpoint/2010/main" val="2039866625"/>
              </p:ext>
            </p:extLst>
          </p:nvPr>
        </p:nvGraphicFramePr>
        <p:xfrm>
          <a:off x="8112349" y="2607262"/>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SOCIAL VIDEO</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Spontaneous</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sp>
        <p:nvSpPr>
          <p:cNvPr id="9" name="TextBox 8">
            <a:extLst>
              <a:ext uri="{FF2B5EF4-FFF2-40B4-BE49-F238E27FC236}">
                <a16:creationId xmlns:a16="http://schemas.microsoft.com/office/drawing/2014/main" id="{6B7C8D0D-7FAD-4B48-B444-51224803999D}"/>
              </a:ext>
            </a:extLst>
          </p:cNvPr>
          <p:cNvSpPr txBox="1"/>
          <p:nvPr/>
        </p:nvSpPr>
        <p:spPr>
          <a:xfrm>
            <a:off x="374562" y="1469362"/>
            <a:ext cx="5545397" cy="169277"/>
          </a:xfrm>
          <a:prstGeom prst="rect">
            <a:avLst/>
          </a:prstGeom>
          <a:noFill/>
        </p:spPr>
        <p:txBody>
          <a:bodyPr wrap="square" lIns="0" tIns="0" rIns="0" bIns="0" rtlCol="0">
            <a:spAutoFit/>
          </a:bodyPr>
          <a:lstStyle/>
          <a:p>
            <a:pPr defTabSz="1008126"/>
            <a:r>
              <a:rPr lang="en-GB" sz="1100" i="1" u="sng" dirty="0">
                <a:solidFill>
                  <a:srgbClr val="FFFFFF"/>
                </a:solidFill>
                <a:latin typeface="Arial" charset="0"/>
                <a:ea typeface="Arial" charset="0"/>
                <a:cs typeface="Arial" charset="0"/>
              </a:rPr>
              <a:t>Top 3 associations by platform</a:t>
            </a:r>
          </a:p>
        </p:txBody>
      </p:sp>
    </p:spTree>
    <p:extLst>
      <p:ext uri="{BB962C8B-B14F-4D97-AF65-F5344CB8AC3E}">
        <p14:creationId xmlns:p14="http://schemas.microsoft.com/office/powerpoint/2010/main" val="1730663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8A6BA7E-F59A-1B43-900A-7C80C04275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54745" y="1339726"/>
            <a:ext cx="4927348" cy="4440918"/>
          </a:xfrm>
          <a:prstGeom prst="ellipse">
            <a:avLst/>
          </a:prstGeom>
        </p:spPr>
      </p:pic>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solidFill>
                  <a:srgbClr val="FFFFFF"/>
                </a:solidFill>
              </a:rPr>
              <a:t>Cinema ads HELP bring the viewer into a ‘bubble’</a:t>
            </a:r>
          </a:p>
        </p:txBody>
      </p:sp>
      <p:sp>
        <p:nvSpPr>
          <p:cNvPr id="13" name="Rectangle 12">
            <a:extLst>
              <a:ext uri="{FF2B5EF4-FFF2-40B4-BE49-F238E27FC236}">
                <a16:creationId xmlns:a16="http://schemas.microsoft.com/office/drawing/2014/main" id="{43AB6197-609A-D748-BC43-6301030F445C}"/>
              </a:ext>
            </a:extLst>
          </p:cNvPr>
          <p:cNvSpPr/>
          <p:nvPr/>
        </p:nvSpPr>
        <p:spPr>
          <a:xfrm>
            <a:off x="5506227" y="7172065"/>
            <a:ext cx="7765892" cy="246221"/>
          </a:xfrm>
          <a:prstGeom prst="rect">
            <a:avLst/>
          </a:prstGeom>
        </p:spPr>
        <p:txBody>
          <a:bodyPr wrap="square" lIns="0" tIns="0" rIns="0" bIns="0">
            <a:spAutoFit/>
          </a:bodyPr>
          <a:lstStyle/>
          <a:p>
            <a:pPr algn="r" defTabSz="1008126"/>
            <a:r>
              <a:rPr lang="en-US" sz="800" dirty="0">
                <a:solidFill>
                  <a:prstClr val="white"/>
                </a:solidFill>
                <a:latin typeface="Arial" charset="0"/>
                <a:ea typeface="Arial" charset="0"/>
                <a:cs typeface="Arial" charset="0"/>
              </a:rPr>
              <a:t>Q. To what extent do you agree or disagree with the following statements? (10 point scale – all ‘agree’ responses shown) </a:t>
            </a:r>
          </a:p>
          <a:p>
            <a:pPr algn="r" defTabSz="1008126"/>
            <a:r>
              <a:rPr lang="en-US" sz="800" dirty="0">
                <a:solidFill>
                  <a:prstClr val="white"/>
                </a:solidFill>
                <a:latin typeface="Arial" charset="0"/>
                <a:ea typeface="Arial" charset="0"/>
                <a:cs typeface="Arial" charset="0"/>
              </a:rPr>
              <a:t>Base: 1000 ‘16-34s’, </a:t>
            </a:r>
            <a:r>
              <a:rPr lang="en-US" sz="800" dirty="0">
                <a:solidFill>
                  <a:srgbClr val="FFFFFF"/>
                </a:solidFill>
                <a:latin typeface="Arial" charset="0"/>
                <a:ea typeface="Arial" charset="0"/>
                <a:cs typeface="Arial" charset="0"/>
              </a:rPr>
              <a:t>176 ‘16-34 Ad Avoiders’</a:t>
            </a:r>
            <a:endParaRPr lang="en-US" sz="800" dirty="0">
              <a:solidFill>
                <a:prstClr val="white"/>
              </a:solidFill>
              <a:latin typeface="Arial" charset="0"/>
              <a:ea typeface="Arial" charset="0"/>
              <a:cs typeface="Arial" charset="0"/>
            </a:endParaRPr>
          </a:p>
        </p:txBody>
      </p:sp>
      <p:sp>
        <p:nvSpPr>
          <p:cNvPr id="15" name="TextBox 14">
            <a:extLst>
              <a:ext uri="{FF2B5EF4-FFF2-40B4-BE49-F238E27FC236}">
                <a16:creationId xmlns:a16="http://schemas.microsoft.com/office/drawing/2014/main" id="{939A020E-739E-784A-A138-583BACEAD4D7}"/>
              </a:ext>
            </a:extLst>
          </p:cNvPr>
          <p:cNvSpPr txBox="1"/>
          <p:nvPr/>
        </p:nvSpPr>
        <p:spPr>
          <a:xfrm>
            <a:off x="6276936" y="1192163"/>
            <a:ext cx="7088895" cy="1092607"/>
          </a:xfrm>
          <a:prstGeom prst="rect">
            <a:avLst/>
          </a:prstGeom>
          <a:noFill/>
        </p:spPr>
        <p:txBody>
          <a:bodyPr wrap="square" rtlCol="0">
            <a:spAutoFit/>
          </a:bodyPr>
          <a:lstStyle/>
          <a:p>
            <a:pPr defTabSz="756095">
              <a:defRPr/>
            </a:pPr>
            <a:r>
              <a:rPr lang="en-US" sz="2400" b="1" i="1" dirty="0">
                <a:solidFill>
                  <a:srgbClr val="FB3449"/>
                </a:solidFill>
                <a:latin typeface="Arial" charset="0"/>
                <a:ea typeface="Arial" charset="0"/>
                <a:cs typeface="Arial" charset="0"/>
              </a:rPr>
              <a:t>72% OF 16-34s AGREE </a:t>
            </a:r>
          </a:p>
          <a:p>
            <a:pPr defTabSz="756095">
              <a:defRPr/>
            </a:pPr>
            <a:r>
              <a:rPr lang="en-US" sz="2000" b="1" i="1" dirty="0">
                <a:solidFill>
                  <a:srgbClr val="FFFFFF"/>
                </a:solidFill>
                <a:latin typeface="Arial" charset="0"/>
                <a:ea typeface="Arial" charset="0"/>
                <a:cs typeface="Arial" charset="0"/>
              </a:rPr>
              <a:t>THAT “CINEMA IS A BUBBLE WHERE THE OUTSIDE WORLD CAN’T INTRUDE”</a:t>
            </a:r>
          </a:p>
        </p:txBody>
      </p:sp>
      <p:sp>
        <p:nvSpPr>
          <p:cNvPr id="8" name="TextBox 7">
            <a:extLst>
              <a:ext uri="{FF2B5EF4-FFF2-40B4-BE49-F238E27FC236}">
                <a16:creationId xmlns:a16="http://schemas.microsoft.com/office/drawing/2014/main" id="{CA4791E4-63D6-43F5-B24E-3F602E93A1E6}"/>
              </a:ext>
            </a:extLst>
          </p:cNvPr>
          <p:cNvSpPr txBox="1"/>
          <p:nvPr/>
        </p:nvSpPr>
        <p:spPr>
          <a:xfrm>
            <a:off x="6354055" y="2972598"/>
            <a:ext cx="7088895" cy="1092607"/>
          </a:xfrm>
          <a:prstGeom prst="rect">
            <a:avLst/>
          </a:prstGeom>
          <a:noFill/>
        </p:spPr>
        <p:txBody>
          <a:bodyPr wrap="square" rtlCol="0">
            <a:spAutoFit/>
          </a:bodyPr>
          <a:lstStyle/>
          <a:p>
            <a:pPr defTabSz="756095">
              <a:defRPr/>
            </a:pPr>
            <a:r>
              <a:rPr lang="en-US" sz="2400" b="1" i="1" dirty="0">
                <a:solidFill>
                  <a:srgbClr val="FB3449"/>
                </a:solidFill>
                <a:latin typeface="Arial" charset="0"/>
                <a:ea typeface="Arial" charset="0"/>
                <a:cs typeface="Arial" charset="0"/>
              </a:rPr>
              <a:t>66% OF 16-34s AGREE </a:t>
            </a:r>
          </a:p>
          <a:p>
            <a:pPr defTabSz="756095">
              <a:defRPr/>
            </a:pPr>
            <a:r>
              <a:rPr lang="en-US" sz="2000" b="1" i="1" dirty="0">
                <a:solidFill>
                  <a:srgbClr val="FFFFFF"/>
                </a:solidFill>
                <a:latin typeface="Arial" charset="0"/>
                <a:ea typeface="Arial" charset="0"/>
                <a:cs typeface="Arial" charset="0"/>
              </a:rPr>
              <a:t>THAT “I PAY MORE ATTENTION TO ADS IN CINEMA THAN ELSEWHERE”</a:t>
            </a:r>
          </a:p>
        </p:txBody>
      </p:sp>
      <p:sp>
        <p:nvSpPr>
          <p:cNvPr id="9" name="TextBox 8">
            <a:extLst>
              <a:ext uri="{FF2B5EF4-FFF2-40B4-BE49-F238E27FC236}">
                <a16:creationId xmlns:a16="http://schemas.microsoft.com/office/drawing/2014/main" id="{D11DA483-D80A-47EF-B24F-A2120C238D44}"/>
              </a:ext>
            </a:extLst>
          </p:cNvPr>
          <p:cNvSpPr txBox="1"/>
          <p:nvPr/>
        </p:nvSpPr>
        <p:spPr>
          <a:xfrm>
            <a:off x="6354056" y="4688037"/>
            <a:ext cx="6761310" cy="1092607"/>
          </a:xfrm>
          <a:prstGeom prst="rect">
            <a:avLst/>
          </a:prstGeom>
          <a:noFill/>
        </p:spPr>
        <p:txBody>
          <a:bodyPr wrap="square" rtlCol="0">
            <a:spAutoFit/>
          </a:bodyPr>
          <a:lstStyle/>
          <a:p>
            <a:pPr defTabSz="756095">
              <a:defRPr/>
            </a:pPr>
            <a:r>
              <a:rPr lang="en-US" sz="2400" b="1" i="1" dirty="0">
                <a:solidFill>
                  <a:srgbClr val="FB3449"/>
                </a:solidFill>
                <a:latin typeface="Arial" charset="0"/>
                <a:ea typeface="Arial" charset="0"/>
                <a:cs typeface="Arial" charset="0"/>
              </a:rPr>
              <a:t>70% OF 16-34 ‘AD AVOIDERS’ AGREE </a:t>
            </a:r>
          </a:p>
          <a:p>
            <a:pPr defTabSz="756095">
              <a:defRPr/>
            </a:pPr>
            <a:r>
              <a:rPr lang="en-US" sz="2000" b="1" i="1" dirty="0">
                <a:solidFill>
                  <a:srgbClr val="FFFFFF"/>
                </a:solidFill>
                <a:latin typeface="Arial" charset="0"/>
                <a:ea typeface="Arial" charset="0"/>
                <a:cs typeface="Arial" charset="0"/>
              </a:rPr>
              <a:t>THAT “I TALK TO THE PEOPLE I GO TO THE CINEMA WITH ABOUT THE ADS (WHILST WATCHING THEM)”</a:t>
            </a:r>
          </a:p>
        </p:txBody>
      </p:sp>
    </p:spTree>
    <p:extLst>
      <p:ext uri="{BB962C8B-B14F-4D97-AF65-F5344CB8AC3E}">
        <p14:creationId xmlns:p14="http://schemas.microsoft.com/office/powerpoint/2010/main" val="711243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57808" y="208136"/>
            <a:ext cx="12413343" cy="409568"/>
          </a:xfrm>
        </p:spPr>
        <p:txBody>
          <a:bodyPr/>
          <a:lstStyle/>
          <a:p>
            <a:r>
              <a:rPr lang="en-GB" sz="2800" spc="100" dirty="0"/>
              <a:t>Brands can benefit from a transfer of positive attributes</a:t>
            </a:r>
            <a:endParaRPr lang="en-GB" sz="2800" spc="100" dirty="0">
              <a:solidFill>
                <a:srgbClr val="FFFFFF"/>
              </a:solidFill>
            </a:endParaRPr>
          </a:p>
        </p:txBody>
      </p:sp>
      <p:graphicFrame>
        <p:nvGraphicFramePr>
          <p:cNvPr id="8" name="Table 7">
            <a:extLst>
              <a:ext uri="{FF2B5EF4-FFF2-40B4-BE49-F238E27FC236}">
                <a16:creationId xmlns:a16="http://schemas.microsoft.com/office/drawing/2014/main" id="{705F1759-66BA-E84B-A19B-BEE2E9A9EE61}"/>
              </a:ext>
            </a:extLst>
          </p:cNvPr>
          <p:cNvGraphicFramePr>
            <a:graphicFrameLocks noGrp="1"/>
          </p:cNvGraphicFramePr>
          <p:nvPr>
            <p:extLst>
              <p:ext uri="{D42A27DB-BD31-4B8C-83A1-F6EECF244321}">
                <p14:modId xmlns:p14="http://schemas.microsoft.com/office/powerpoint/2010/main" val="140463804"/>
              </p:ext>
            </p:extLst>
          </p:nvPr>
        </p:nvGraphicFramePr>
        <p:xfrm>
          <a:off x="671517" y="1872047"/>
          <a:ext cx="3296127" cy="4393124"/>
        </p:xfrm>
        <a:graphic>
          <a:graphicData uri="http://schemas.openxmlformats.org/drawingml/2006/table">
            <a:tbl>
              <a:tblPr firstRow="1" firstCol="1" bandRow="1">
                <a:tableStyleId>{5C22544A-7EE6-4342-B048-85BDC9FD1C3A}</a:tableStyleId>
              </a:tblPr>
              <a:tblGrid>
                <a:gridCol w="2356347">
                  <a:extLst>
                    <a:ext uri="{9D8B030D-6E8A-4147-A177-3AD203B41FA5}">
                      <a16:colId xmlns:a16="http://schemas.microsoft.com/office/drawing/2014/main" val="1017454763"/>
                    </a:ext>
                  </a:extLst>
                </a:gridCol>
                <a:gridCol w="939780">
                  <a:extLst>
                    <a:ext uri="{9D8B030D-6E8A-4147-A177-3AD203B41FA5}">
                      <a16:colId xmlns:a16="http://schemas.microsoft.com/office/drawing/2014/main" val="3861270620"/>
                    </a:ext>
                  </a:extLst>
                </a:gridCol>
              </a:tblGrid>
              <a:tr h="561119">
                <a:tc gridSpan="2">
                  <a:txBody>
                    <a:bodyPr/>
                    <a:lstStyle/>
                    <a:p>
                      <a:pPr algn="l">
                        <a:lnSpc>
                          <a:spcPct val="107000"/>
                        </a:lnSpc>
                        <a:spcAft>
                          <a:spcPts val="0"/>
                        </a:spcAft>
                      </a:pPr>
                      <a:r>
                        <a:rPr lang="en-GB" sz="1800" dirty="0">
                          <a:solidFill>
                            <a:srgbClr val="FFFFFF"/>
                          </a:solidFill>
                          <a:effectLst/>
                        </a:rPr>
                        <a:t>PREMIUM</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48%</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7%</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1%</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634025"/>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3006065"/>
                  </a:ext>
                </a:extLst>
              </a:tr>
            </a:tbl>
          </a:graphicData>
        </a:graphic>
      </p:graphicFrame>
      <p:graphicFrame>
        <p:nvGraphicFramePr>
          <p:cNvPr id="14" name="Table 13">
            <a:extLst>
              <a:ext uri="{FF2B5EF4-FFF2-40B4-BE49-F238E27FC236}">
                <a16:creationId xmlns:a16="http://schemas.microsoft.com/office/drawing/2014/main" id="{F474E649-65F5-1348-A654-CA3B949385D8}"/>
              </a:ext>
            </a:extLst>
          </p:cNvPr>
          <p:cNvGraphicFramePr>
            <a:graphicFrameLocks noGrp="1"/>
          </p:cNvGraphicFramePr>
          <p:nvPr>
            <p:extLst>
              <p:ext uri="{D42A27DB-BD31-4B8C-83A1-F6EECF244321}">
                <p14:modId xmlns:p14="http://schemas.microsoft.com/office/powerpoint/2010/main" val="690625775"/>
              </p:ext>
            </p:extLst>
          </p:nvPr>
        </p:nvGraphicFramePr>
        <p:xfrm>
          <a:off x="4971665" y="1872047"/>
          <a:ext cx="3414121" cy="4393125"/>
        </p:xfrm>
        <a:graphic>
          <a:graphicData uri="http://schemas.openxmlformats.org/drawingml/2006/table">
            <a:tbl>
              <a:tblPr firstRow="1" firstCol="1" bandRow="1">
                <a:tableStyleId>{5C22544A-7EE6-4342-B048-85BDC9FD1C3A}</a:tableStyleId>
              </a:tblPr>
              <a:tblGrid>
                <a:gridCol w="2440699">
                  <a:extLst>
                    <a:ext uri="{9D8B030D-6E8A-4147-A177-3AD203B41FA5}">
                      <a16:colId xmlns:a16="http://schemas.microsoft.com/office/drawing/2014/main" val="1017454763"/>
                    </a:ext>
                  </a:extLst>
                </a:gridCol>
                <a:gridCol w="973422">
                  <a:extLst>
                    <a:ext uri="{9D8B030D-6E8A-4147-A177-3AD203B41FA5}">
                      <a16:colId xmlns:a16="http://schemas.microsoft.com/office/drawing/2014/main" val="3861270620"/>
                    </a:ext>
                  </a:extLst>
                </a:gridCol>
              </a:tblGrid>
              <a:tr h="561120">
                <a:tc gridSpan="2">
                  <a:txBody>
                    <a:bodyPr/>
                    <a:lstStyle/>
                    <a:p>
                      <a:pPr algn="l">
                        <a:lnSpc>
                          <a:spcPct val="107000"/>
                        </a:lnSpc>
                        <a:spcAft>
                          <a:spcPts val="0"/>
                        </a:spcAft>
                      </a:pPr>
                      <a:r>
                        <a:rPr lang="en-GB" sz="1800" dirty="0">
                          <a:solidFill>
                            <a:srgbClr val="FFFFFF"/>
                          </a:solidFill>
                          <a:effectLst/>
                        </a:rPr>
                        <a:t>TRUSTWORTHY ADS</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i="0"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i="0" dirty="0">
                          <a:solidFill>
                            <a:srgbClr val="FB3449"/>
                          </a:solidFill>
                          <a:effectLst/>
                          <a:latin typeface="+mn-lt"/>
                        </a:rPr>
                        <a:t>36%</a:t>
                      </a:r>
                      <a:endParaRPr lang="en-GB" sz="1600" b="1" i="0"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31%</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0%</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graphicFrame>
        <p:nvGraphicFramePr>
          <p:cNvPr id="15" name="Table 14">
            <a:extLst>
              <a:ext uri="{FF2B5EF4-FFF2-40B4-BE49-F238E27FC236}">
                <a16:creationId xmlns:a16="http://schemas.microsoft.com/office/drawing/2014/main" id="{07BD22D6-1435-C344-A342-BB0E858B87B6}"/>
              </a:ext>
            </a:extLst>
          </p:cNvPr>
          <p:cNvGraphicFramePr>
            <a:graphicFrameLocks noGrp="1"/>
          </p:cNvGraphicFramePr>
          <p:nvPr>
            <p:extLst>
              <p:ext uri="{D42A27DB-BD31-4B8C-83A1-F6EECF244321}">
                <p14:modId xmlns:p14="http://schemas.microsoft.com/office/powerpoint/2010/main" val="198288390"/>
              </p:ext>
            </p:extLst>
          </p:nvPr>
        </p:nvGraphicFramePr>
        <p:xfrm>
          <a:off x="9389807" y="1531242"/>
          <a:ext cx="3293536" cy="4733928"/>
        </p:xfrm>
        <a:graphic>
          <a:graphicData uri="http://schemas.openxmlformats.org/drawingml/2006/table">
            <a:tbl>
              <a:tblPr firstRow="1" firstCol="1" bandRow="1">
                <a:tableStyleId>{5C22544A-7EE6-4342-B048-85BDC9FD1C3A}</a:tableStyleId>
              </a:tblPr>
              <a:tblGrid>
                <a:gridCol w="2354495">
                  <a:extLst>
                    <a:ext uri="{9D8B030D-6E8A-4147-A177-3AD203B41FA5}">
                      <a16:colId xmlns:a16="http://schemas.microsoft.com/office/drawing/2014/main" val="1017454763"/>
                    </a:ext>
                  </a:extLst>
                </a:gridCol>
                <a:gridCol w="939041">
                  <a:extLst>
                    <a:ext uri="{9D8B030D-6E8A-4147-A177-3AD203B41FA5}">
                      <a16:colId xmlns:a16="http://schemas.microsoft.com/office/drawing/2014/main" val="3861270620"/>
                    </a:ext>
                  </a:extLst>
                </a:gridCol>
              </a:tblGrid>
              <a:tr h="932853">
                <a:tc gridSpan="2">
                  <a:txBody>
                    <a:bodyPr/>
                    <a:lstStyle/>
                    <a:p>
                      <a:pPr algn="l">
                        <a:lnSpc>
                          <a:spcPct val="107000"/>
                        </a:lnSpc>
                        <a:spcAft>
                          <a:spcPts val="0"/>
                        </a:spcAft>
                      </a:pPr>
                      <a:r>
                        <a:rPr lang="en-GB" sz="1800" dirty="0">
                          <a:solidFill>
                            <a:srgbClr val="FFFFFF"/>
                          </a:solidFill>
                          <a:effectLst/>
                        </a:rPr>
                        <a:t>ADS MAKE YOU FEEL MORE POSITIVE TOWARDS A BRAND</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0215">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30%</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5%</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0%</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7%</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8%</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sp>
        <p:nvSpPr>
          <p:cNvPr id="16" name="Rectangle 15">
            <a:extLst>
              <a:ext uri="{FF2B5EF4-FFF2-40B4-BE49-F238E27FC236}">
                <a16:creationId xmlns:a16="http://schemas.microsoft.com/office/drawing/2014/main" id="{ABF7C34C-2051-F74F-B953-36D2A43F2DF3}"/>
              </a:ext>
            </a:extLst>
          </p:cNvPr>
          <p:cNvSpPr/>
          <p:nvPr/>
        </p:nvSpPr>
        <p:spPr>
          <a:xfrm>
            <a:off x="12490624" y="7178710"/>
            <a:ext cx="814647" cy="215444"/>
          </a:xfrm>
          <a:prstGeom prst="rect">
            <a:avLst/>
          </a:prstGeom>
        </p:spPr>
        <p:txBody>
          <a:bodyPr wrap="none">
            <a:spAutoFit/>
          </a:bodyPr>
          <a:lstStyle/>
          <a:p>
            <a:pPr algn="r" defTabSz="1060433">
              <a:defRPr/>
            </a:pPr>
            <a:r>
              <a:rPr lang="en-GB" sz="800" dirty="0">
                <a:solidFill>
                  <a:srgbClr val="FFFFFF"/>
                </a:solidFill>
                <a:latin typeface="Arial"/>
              </a:rPr>
              <a:t>% ranked first</a:t>
            </a:r>
          </a:p>
        </p:txBody>
      </p:sp>
    </p:spTree>
    <p:extLst>
      <p:ext uri="{BB962C8B-B14F-4D97-AF65-F5344CB8AC3E}">
        <p14:creationId xmlns:p14="http://schemas.microsoft.com/office/powerpoint/2010/main" val="1155433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87859"/>
            <a:ext cx="12413343" cy="409568"/>
          </a:xfrm>
        </p:spPr>
        <p:txBody>
          <a:bodyPr/>
          <a:lstStyle/>
          <a:p>
            <a:r>
              <a:rPr lang="en-GB" sz="2800" spc="100" dirty="0"/>
              <a:t>Cinema delivers at both an ‘emotional’ and a ‘rational’ level</a:t>
            </a:r>
          </a:p>
        </p:txBody>
      </p:sp>
      <p:grpSp>
        <p:nvGrpSpPr>
          <p:cNvPr id="3" name="Group 2"/>
          <p:cNvGrpSpPr/>
          <p:nvPr/>
        </p:nvGrpSpPr>
        <p:grpSpPr>
          <a:xfrm>
            <a:off x="2521780" y="2031302"/>
            <a:ext cx="8394292" cy="3918278"/>
            <a:chOff x="2610680" y="2031302"/>
            <a:chExt cx="8394292" cy="3918278"/>
          </a:xfrm>
        </p:grpSpPr>
        <p:graphicFrame>
          <p:nvGraphicFramePr>
            <p:cNvPr id="8" name="Chart 7">
              <a:extLst>
                <a:ext uri="{FF2B5EF4-FFF2-40B4-BE49-F238E27FC236}">
                  <a16:creationId xmlns:a16="http://schemas.microsoft.com/office/drawing/2014/main" id="{43AD7437-D0FE-784C-8367-D6F6C5FB1A8B}"/>
                </a:ext>
              </a:extLst>
            </p:cNvPr>
            <p:cNvGraphicFramePr/>
            <p:nvPr>
              <p:extLst>
                <p:ext uri="{D42A27DB-BD31-4B8C-83A1-F6EECF244321}">
                  <p14:modId xmlns:p14="http://schemas.microsoft.com/office/powerpoint/2010/main" val="503236146"/>
                </p:ext>
              </p:extLst>
            </p:nvPr>
          </p:nvGraphicFramePr>
          <p:xfrm>
            <a:off x="2610680" y="2927651"/>
            <a:ext cx="2152489" cy="30219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0D91C96E-0757-554B-A654-E8F49066BC32}"/>
                </a:ext>
              </a:extLst>
            </p:cNvPr>
            <p:cNvGraphicFramePr/>
            <p:nvPr>
              <p:extLst>
                <p:ext uri="{D42A27DB-BD31-4B8C-83A1-F6EECF244321}">
                  <p14:modId xmlns:p14="http://schemas.microsoft.com/office/powerpoint/2010/main" val="580608823"/>
                </p:ext>
              </p:extLst>
            </p:nvPr>
          </p:nvGraphicFramePr>
          <p:xfrm>
            <a:off x="5762638" y="2927651"/>
            <a:ext cx="2152489" cy="302192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a:extLst>
                <a:ext uri="{FF2B5EF4-FFF2-40B4-BE49-F238E27FC236}">
                  <a16:creationId xmlns:a16="http://schemas.microsoft.com/office/drawing/2014/main" id="{062F9653-BBFD-6B41-BDB9-D10348C16D39}"/>
                </a:ext>
              </a:extLst>
            </p:cNvPr>
            <p:cNvGraphicFramePr/>
            <p:nvPr>
              <p:extLst>
                <p:ext uri="{D42A27DB-BD31-4B8C-83A1-F6EECF244321}">
                  <p14:modId xmlns:p14="http://schemas.microsoft.com/office/powerpoint/2010/main" val="1658274027"/>
                </p:ext>
              </p:extLst>
            </p:nvPr>
          </p:nvGraphicFramePr>
          <p:xfrm>
            <a:off x="8852483" y="2927651"/>
            <a:ext cx="2152489" cy="3021929"/>
          </p:xfrm>
          <a:graphic>
            <a:graphicData uri="http://schemas.openxmlformats.org/drawingml/2006/chart">
              <c:chart xmlns:c="http://schemas.openxmlformats.org/drawingml/2006/chart" xmlns:r="http://schemas.openxmlformats.org/officeDocument/2006/relationships" r:id="rId5"/>
            </a:graphicData>
          </a:graphic>
        </p:graphicFrame>
        <p:sp>
          <p:nvSpPr>
            <p:cNvPr id="15" name="Rectangle 14">
              <a:extLst>
                <a:ext uri="{FF2B5EF4-FFF2-40B4-BE49-F238E27FC236}">
                  <a16:creationId xmlns:a16="http://schemas.microsoft.com/office/drawing/2014/main" id="{276A8019-05A8-F74D-9CC3-AB4E043EB3F3}"/>
                </a:ext>
              </a:extLst>
            </p:cNvPr>
            <p:cNvSpPr/>
            <p:nvPr/>
          </p:nvSpPr>
          <p:spPr>
            <a:xfrm>
              <a:off x="2610680" y="2039515"/>
              <a:ext cx="2152477" cy="67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8126"/>
              <a:r>
                <a:rPr lang="en-US" sz="1400" b="1" dirty="0">
                  <a:solidFill>
                    <a:srgbClr val="FFFFFF"/>
                  </a:solidFill>
                  <a:latin typeface="Arial" charset="0"/>
                  <a:ea typeface="Arial" charset="0"/>
                  <a:cs typeface="Arial" charset="0"/>
                </a:rPr>
                <a:t>‘Better impression’</a:t>
              </a:r>
            </a:p>
          </p:txBody>
        </p:sp>
        <p:sp>
          <p:nvSpPr>
            <p:cNvPr id="16" name="Rectangle 15">
              <a:extLst>
                <a:ext uri="{FF2B5EF4-FFF2-40B4-BE49-F238E27FC236}">
                  <a16:creationId xmlns:a16="http://schemas.microsoft.com/office/drawing/2014/main" id="{FBD8253C-B924-7742-9AFE-8042FB6A2CFF}"/>
                </a:ext>
              </a:extLst>
            </p:cNvPr>
            <p:cNvSpPr/>
            <p:nvPr/>
          </p:nvSpPr>
          <p:spPr>
            <a:xfrm>
              <a:off x="5762635" y="2031302"/>
              <a:ext cx="2152492" cy="67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8126"/>
              <a:r>
                <a:rPr lang="en-US" sz="1400" b="1" dirty="0">
                  <a:solidFill>
                    <a:srgbClr val="FFFFFF"/>
                  </a:solidFill>
                  <a:latin typeface="Arial" charset="0"/>
                  <a:ea typeface="Arial" charset="0"/>
                  <a:cs typeface="Arial" charset="0"/>
                </a:rPr>
                <a:t>‘Rational’ </a:t>
              </a:r>
              <a:br>
                <a:rPr lang="en-US" sz="1400" b="1" dirty="0">
                  <a:solidFill>
                    <a:srgbClr val="FFFFFF"/>
                  </a:solidFill>
                  <a:latin typeface="Arial" charset="0"/>
                  <a:ea typeface="Arial" charset="0"/>
                  <a:cs typeface="Arial" charset="0"/>
                </a:rPr>
              </a:br>
              <a:r>
                <a:rPr lang="en-US" sz="1400" b="1" dirty="0">
                  <a:solidFill>
                    <a:srgbClr val="FFFFFF"/>
                  </a:solidFill>
                  <a:latin typeface="Arial" charset="0"/>
                  <a:ea typeface="Arial" charset="0"/>
                  <a:cs typeface="Arial" charset="0"/>
                </a:rPr>
                <a:t>brand perceptions</a:t>
              </a:r>
            </a:p>
          </p:txBody>
        </p:sp>
        <p:sp>
          <p:nvSpPr>
            <p:cNvPr id="18" name="Rectangle 17">
              <a:extLst>
                <a:ext uri="{FF2B5EF4-FFF2-40B4-BE49-F238E27FC236}">
                  <a16:creationId xmlns:a16="http://schemas.microsoft.com/office/drawing/2014/main" id="{17B7D672-D425-4043-B5FB-7F135EAB8FB4}"/>
                </a:ext>
              </a:extLst>
            </p:cNvPr>
            <p:cNvSpPr/>
            <p:nvPr/>
          </p:nvSpPr>
          <p:spPr>
            <a:xfrm>
              <a:off x="8846380" y="2031302"/>
              <a:ext cx="2158592" cy="67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8126"/>
              <a:r>
                <a:rPr lang="en-US" sz="1323" b="1" dirty="0">
                  <a:solidFill>
                    <a:srgbClr val="FFFFFF"/>
                  </a:solidFill>
                  <a:latin typeface="Helvetica" pitchFamily="2" charset="0"/>
                  <a:ea typeface="Helvetica" charset="0"/>
                  <a:cs typeface="Helvetica" charset="0"/>
                </a:rPr>
                <a:t>‘</a:t>
              </a:r>
              <a:r>
                <a:rPr lang="en-US" sz="1400" b="1" dirty="0">
                  <a:solidFill>
                    <a:srgbClr val="FFFFFF"/>
                  </a:solidFill>
                  <a:latin typeface="Arial" charset="0"/>
                  <a:ea typeface="Arial" charset="0"/>
                  <a:cs typeface="Arial" charset="0"/>
                </a:rPr>
                <a:t>Emotional’ </a:t>
              </a:r>
              <a:br>
                <a:rPr lang="en-US" sz="1400" b="1" dirty="0">
                  <a:solidFill>
                    <a:srgbClr val="FFFFFF"/>
                  </a:solidFill>
                  <a:latin typeface="Arial" charset="0"/>
                  <a:ea typeface="Arial" charset="0"/>
                  <a:cs typeface="Arial" charset="0"/>
                </a:rPr>
              </a:br>
              <a:r>
                <a:rPr lang="en-US" sz="1400" b="1" dirty="0">
                  <a:solidFill>
                    <a:srgbClr val="FFFFFF"/>
                  </a:solidFill>
                  <a:latin typeface="Arial" charset="0"/>
                  <a:ea typeface="Arial" charset="0"/>
                  <a:cs typeface="Arial" charset="0"/>
                </a:rPr>
                <a:t>brand perceptions</a:t>
              </a:r>
            </a:p>
          </p:txBody>
        </p:sp>
        <p:sp>
          <p:nvSpPr>
            <p:cNvPr id="19" name="Title 1">
              <a:extLst>
                <a:ext uri="{FF2B5EF4-FFF2-40B4-BE49-F238E27FC236}">
                  <a16:creationId xmlns:a16="http://schemas.microsoft.com/office/drawing/2014/main" id="{0147C487-12EF-B847-9811-5603194D3F43}"/>
                </a:ext>
              </a:extLst>
            </p:cNvPr>
            <p:cNvSpPr txBox="1">
              <a:spLocks/>
            </p:cNvSpPr>
            <p:nvPr/>
          </p:nvSpPr>
          <p:spPr bwMode="gray">
            <a:xfrm>
              <a:off x="2612066" y="2821256"/>
              <a:ext cx="1998691" cy="108140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defTabSz="1060433"/>
              <a:r>
                <a:rPr lang="en-US" sz="4500" b="1" i="1" cap="none" spc="150" dirty="0">
                  <a:solidFill>
                    <a:srgbClr val="FFFFFF"/>
                  </a:solidFill>
                  <a:latin typeface="Impact" charset="0"/>
                  <a:ea typeface="Impact" charset="0"/>
                  <a:cs typeface="Impact" charset="0"/>
                </a:rPr>
                <a:t>+30%</a:t>
              </a:r>
            </a:p>
          </p:txBody>
        </p:sp>
        <p:sp>
          <p:nvSpPr>
            <p:cNvPr id="20" name="Title 1">
              <a:extLst>
                <a:ext uri="{FF2B5EF4-FFF2-40B4-BE49-F238E27FC236}">
                  <a16:creationId xmlns:a16="http://schemas.microsoft.com/office/drawing/2014/main" id="{3A8F144A-2E4E-A343-B5BC-25D63AA6FEB9}"/>
                </a:ext>
              </a:extLst>
            </p:cNvPr>
            <p:cNvSpPr txBox="1">
              <a:spLocks/>
            </p:cNvSpPr>
            <p:nvPr/>
          </p:nvSpPr>
          <p:spPr bwMode="gray">
            <a:xfrm>
              <a:off x="5700527" y="2821256"/>
              <a:ext cx="2152487" cy="108140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defTabSz="1060433"/>
              <a:r>
                <a:rPr lang="en-US" sz="4500" b="1" i="1" cap="none" spc="150" dirty="0">
                  <a:solidFill>
                    <a:srgbClr val="FFFFFF"/>
                  </a:solidFill>
                  <a:latin typeface="Impact" charset="0"/>
                  <a:ea typeface="Impact" charset="0"/>
                  <a:cs typeface="Impact" charset="0"/>
                </a:rPr>
                <a:t>+42%</a:t>
              </a:r>
            </a:p>
          </p:txBody>
        </p:sp>
        <p:sp>
          <p:nvSpPr>
            <p:cNvPr id="21" name="Title 1">
              <a:extLst>
                <a:ext uri="{FF2B5EF4-FFF2-40B4-BE49-F238E27FC236}">
                  <a16:creationId xmlns:a16="http://schemas.microsoft.com/office/drawing/2014/main" id="{A65CBA5F-26B5-184F-B1D7-5FD0E4207BE7}"/>
                </a:ext>
              </a:extLst>
            </p:cNvPr>
            <p:cNvSpPr txBox="1">
              <a:spLocks/>
            </p:cNvSpPr>
            <p:nvPr/>
          </p:nvSpPr>
          <p:spPr bwMode="gray">
            <a:xfrm>
              <a:off x="8790372" y="2821256"/>
              <a:ext cx="2152487" cy="108140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defTabSz="1060433"/>
              <a:r>
                <a:rPr lang="en-US" sz="4500" b="1" i="1" cap="none" spc="150" dirty="0">
                  <a:solidFill>
                    <a:srgbClr val="FFFFFF"/>
                  </a:solidFill>
                  <a:latin typeface="Impact" charset="0"/>
                  <a:ea typeface="Impact" charset="0"/>
                  <a:cs typeface="Impact" charset="0"/>
                </a:rPr>
                <a:t>+60%</a:t>
              </a:r>
            </a:p>
          </p:txBody>
        </p:sp>
      </p:grpSp>
      <p:sp>
        <p:nvSpPr>
          <p:cNvPr id="22" name="TextBox 21">
            <a:extLst>
              <a:ext uri="{FF2B5EF4-FFF2-40B4-BE49-F238E27FC236}">
                <a16:creationId xmlns:a16="http://schemas.microsoft.com/office/drawing/2014/main" id="{E11754A1-8049-0D47-8907-978F136E3E52}"/>
              </a:ext>
            </a:extLst>
          </p:cNvPr>
          <p:cNvSpPr txBox="1"/>
          <p:nvPr/>
        </p:nvSpPr>
        <p:spPr>
          <a:xfrm>
            <a:off x="326592" y="1177467"/>
            <a:ext cx="5545397" cy="338554"/>
          </a:xfrm>
          <a:prstGeom prst="rect">
            <a:avLst/>
          </a:prstGeom>
          <a:noFill/>
        </p:spPr>
        <p:txBody>
          <a:bodyPr wrap="square" lIns="0" tIns="0" rIns="0" bIns="0" rtlCol="0">
            <a:spAutoFit/>
          </a:bodyPr>
          <a:lstStyle/>
          <a:p>
            <a:pPr defTabSz="1008126"/>
            <a:r>
              <a:rPr lang="en-GB" sz="1100" i="1" u="sng" dirty="0">
                <a:solidFill>
                  <a:srgbClr val="FFFFFF"/>
                </a:solidFill>
                <a:latin typeface="Arial" charset="0"/>
                <a:ea typeface="Arial" charset="0"/>
                <a:cs typeface="Arial" charset="0"/>
              </a:rPr>
              <a:t>Meta-analysis of 12 recent cinema campaigns </a:t>
            </a:r>
          </a:p>
          <a:p>
            <a:pPr defTabSz="1008126"/>
            <a:r>
              <a:rPr lang="en-GB" sz="1100" i="1" dirty="0">
                <a:solidFill>
                  <a:srgbClr val="FFFFFF"/>
                </a:solidFill>
                <a:latin typeface="Arial" charset="0"/>
                <a:ea typeface="Arial" charset="0"/>
                <a:cs typeface="Arial" charset="0"/>
              </a:rPr>
              <a:t>16-34 audience results</a:t>
            </a:r>
          </a:p>
        </p:txBody>
      </p:sp>
      <p:sp>
        <p:nvSpPr>
          <p:cNvPr id="23" name="Rectangle 22">
            <a:extLst>
              <a:ext uri="{FF2B5EF4-FFF2-40B4-BE49-F238E27FC236}">
                <a16:creationId xmlns:a16="http://schemas.microsoft.com/office/drawing/2014/main" id="{22270AA5-EB7D-E748-852B-6084F6D25071}"/>
              </a:ext>
            </a:extLst>
          </p:cNvPr>
          <p:cNvSpPr/>
          <p:nvPr/>
        </p:nvSpPr>
        <p:spPr>
          <a:xfrm>
            <a:off x="3099290" y="7119620"/>
            <a:ext cx="10237029" cy="492443"/>
          </a:xfrm>
          <a:prstGeom prst="rect">
            <a:avLst/>
          </a:prstGeom>
        </p:spPr>
        <p:txBody>
          <a:bodyPr wrap="square" lIns="0" tIns="0" rIns="0" bIns="0">
            <a:spAutoFit/>
          </a:bodyPr>
          <a:lstStyle/>
          <a:p>
            <a:pPr algn="r" defTabSz="1008126"/>
            <a:r>
              <a:rPr lang="en-US" sz="800" dirty="0">
                <a:solidFill>
                  <a:srgbClr val="FFFFFF"/>
                </a:solidFill>
                <a:latin typeface="Arial" charset="0"/>
                <a:ea typeface="Arial" charset="0"/>
                <a:cs typeface="Arial" charset="0"/>
              </a:rPr>
              <a:t>Meta-analysis consists of 12 campaigns from finance, travel, entertainment &amp; leisure, FMCG and charity sectors</a:t>
            </a:r>
          </a:p>
          <a:p>
            <a:pPr algn="r" defTabSz="1008126"/>
            <a:r>
              <a:rPr lang="en-US" sz="800" dirty="0">
                <a:solidFill>
                  <a:srgbClr val="FFFFFF"/>
                </a:solidFill>
                <a:latin typeface="Arial" charset="0"/>
                <a:ea typeface="Arial" charset="0"/>
                <a:cs typeface="Arial" charset="0"/>
              </a:rPr>
              <a:t>Rational brand perceptions include: ‘is value for money;, ‘is good quality’, ‘is in convenient locations for me’</a:t>
            </a:r>
          </a:p>
          <a:p>
            <a:pPr algn="r" defTabSz="1008126"/>
            <a:r>
              <a:rPr lang="en-US" sz="800" dirty="0">
                <a:solidFill>
                  <a:srgbClr val="FFFFFF"/>
                </a:solidFill>
                <a:latin typeface="Arial" charset="0"/>
                <a:ea typeface="Arial" charset="0"/>
                <a:cs typeface="Arial" charset="0"/>
              </a:rPr>
              <a:t>Emotional brand perceptions include: ‘is a brand I love’, ‘is a brand I’m passionate about, ‘is an inspirational brand’’. Top 3 agree scores for brand perceptions </a:t>
            </a:r>
          </a:p>
          <a:p>
            <a:pPr algn="r" defTabSz="1008126"/>
            <a:endParaRPr lang="en-US" sz="800" dirty="0">
              <a:solidFill>
                <a:srgbClr val="FFFFFF"/>
              </a:solidFill>
              <a:latin typeface="Arial" charset="0"/>
              <a:ea typeface="Arial" charset="0"/>
              <a:cs typeface="Arial" charset="0"/>
            </a:endParaRPr>
          </a:p>
        </p:txBody>
      </p:sp>
    </p:spTree>
    <p:extLst>
      <p:ext uri="{BB962C8B-B14F-4D97-AF65-F5344CB8AC3E}">
        <p14:creationId xmlns:p14="http://schemas.microsoft.com/office/powerpoint/2010/main" val="150204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02944"/>
            <a:ext cx="12413343" cy="409568"/>
          </a:xfrm>
        </p:spPr>
        <p:txBody>
          <a:bodyPr/>
          <a:lstStyle/>
          <a:p>
            <a:r>
              <a:rPr lang="en-US" sz="2800" spc="100" dirty="0"/>
              <a:t>Key findings</a:t>
            </a:r>
            <a:endParaRPr lang="en-GB" sz="2800" spc="100" dirty="0"/>
          </a:p>
        </p:txBody>
      </p:sp>
      <p:sp>
        <p:nvSpPr>
          <p:cNvPr id="15" name="Oval 14">
            <a:extLst>
              <a:ext uri="{FF2B5EF4-FFF2-40B4-BE49-F238E27FC236}">
                <a16:creationId xmlns:a16="http://schemas.microsoft.com/office/drawing/2014/main" id="{82273B3C-56E3-BA4E-9F3E-14736E9427A6}"/>
              </a:ext>
            </a:extLst>
          </p:cNvPr>
          <p:cNvSpPr/>
          <p:nvPr/>
        </p:nvSpPr>
        <p:spPr>
          <a:xfrm>
            <a:off x="702146" y="2283163"/>
            <a:ext cx="2826000" cy="2826000"/>
          </a:xfrm>
          <a:prstGeom prst="ellipse">
            <a:avLst/>
          </a:prstGeom>
          <a:solidFill>
            <a:schemeClr val="accent2"/>
          </a:solidFill>
          <a:ln w="1905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charset="0"/>
                <a:ea typeface="Arial" charset="0"/>
                <a:cs typeface="Arial" charset="0"/>
              </a:rPr>
              <a:t>The unique cinema experience creates an immersive, </a:t>
            </a:r>
            <a:br>
              <a:rPr kumimoji="0" lang="en-US" sz="1300" b="1" i="0" u="none" strike="noStrike" kern="1200" cap="none" spc="0" normalizeH="0" baseline="0" noProof="0" dirty="0">
                <a:ln>
                  <a:noFill/>
                </a:ln>
                <a:solidFill>
                  <a:prstClr val="white"/>
                </a:solidFill>
                <a:effectLst/>
                <a:uLnTx/>
                <a:uFillTx/>
                <a:latin typeface="Arial" charset="0"/>
                <a:ea typeface="Arial" charset="0"/>
                <a:cs typeface="Arial" charset="0"/>
              </a:rPr>
            </a:br>
            <a:r>
              <a:rPr kumimoji="0" lang="en-US" sz="1300" b="1" i="0" u="none" strike="noStrike" kern="1200" cap="none" spc="0" normalizeH="0" baseline="0" noProof="0" dirty="0">
                <a:ln>
                  <a:noFill/>
                </a:ln>
                <a:solidFill>
                  <a:prstClr val="white"/>
                </a:solidFill>
                <a:effectLst/>
                <a:uLnTx/>
                <a:uFillTx/>
                <a:latin typeface="Arial" charset="0"/>
                <a:ea typeface="Arial" charset="0"/>
                <a:cs typeface="Arial" charset="0"/>
              </a:rPr>
              <a:t>non-intrusive, ‘bubble’ </a:t>
            </a:r>
          </a:p>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charset="0"/>
                <a:ea typeface="Arial" charset="0"/>
                <a:cs typeface="Arial" charset="0"/>
              </a:rPr>
              <a:t>of attention that no other AV format can provide.</a:t>
            </a:r>
          </a:p>
        </p:txBody>
      </p:sp>
      <p:sp>
        <p:nvSpPr>
          <p:cNvPr id="16" name="Oval 15">
            <a:extLst>
              <a:ext uri="{FF2B5EF4-FFF2-40B4-BE49-F238E27FC236}">
                <a16:creationId xmlns:a16="http://schemas.microsoft.com/office/drawing/2014/main" id="{2BFD11A2-0FC0-364E-AB5C-A31E0B194D72}"/>
              </a:ext>
            </a:extLst>
          </p:cNvPr>
          <p:cNvSpPr/>
          <p:nvPr/>
        </p:nvSpPr>
        <p:spPr>
          <a:xfrm>
            <a:off x="5279744" y="2283163"/>
            <a:ext cx="2826000" cy="2826000"/>
          </a:xfrm>
          <a:prstGeom prst="ellipse">
            <a:avLst/>
          </a:prstGeom>
          <a:solidFill>
            <a:srgbClr val="FB3449"/>
          </a:solidFill>
          <a:ln w="1905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lang="en-GB" sz="1300" b="1" dirty="0">
                <a:solidFill>
                  <a:prstClr val="white"/>
                </a:solidFill>
                <a:latin typeface="Arial" charset="0"/>
                <a:ea typeface="Arial" charset="0"/>
                <a:cs typeface="Arial" charset="0"/>
              </a:rPr>
              <a:t>Brands can benefit from a positive transfer of attributes that cinema possesses including being seen as premium and trusted.</a:t>
            </a:r>
            <a:endParaRPr kumimoji="0" lang="en-GB" sz="1300" b="1" i="0" u="none" strike="noStrike" kern="1200" cap="none" spc="0" normalizeH="0" baseline="0" noProof="0" dirty="0">
              <a:ln>
                <a:noFill/>
              </a:ln>
              <a:solidFill>
                <a:prstClr val="white"/>
              </a:solidFill>
              <a:effectLst/>
              <a:uLnTx/>
              <a:uFillTx/>
              <a:latin typeface="Arial" charset="0"/>
              <a:ea typeface="Arial" charset="0"/>
              <a:cs typeface="Arial" charset="0"/>
            </a:endParaRPr>
          </a:p>
        </p:txBody>
      </p:sp>
      <p:sp>
        <p:nvSpPr>
          <p:cNvPr id="18" name="Oval 17">
            <a:extLst>
              <a:ext uri="{FF2B5EF4-FFF2-40B4-BE49-F238E27FC236}">
                <a16:creationId xmlns:a16="http://schemas.microsoft.com/office/drawing/2014/main" id="{638E6611-3E0E-4B48-BF96-0DA4ED5AB819}"/>
              </a:ext>
            </a:extLst>
          </p:cNvPr>
          <p:cNvSpPr/>
          <p:nvPr/>
        </p:nvSpPr>
        <p:spPr>
          <a:xfrm>
            <a:off x="9857343" y="2283163"/>
            <a:ext cx="2826000" cy="2826000"/>
          </a:xfrm>
          <a:prstGeom prst="ellipse">
            <a:avLst/>
          </a:prstGeom>
          <a:solidFill>
            <a:schemeClr val="accent2"/>
          </a:solidFill>
          <a:ln w="1905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prstClr val="white"/>
                </a:solidFill>
                <a:effectLst/>
                <a:uLnTx/>
                <a:uFillTx/>
                <a:latin typeface="Arial" charset="0"/>
                <a:ea typeface="Arial" charset="0"/>
                <a:cs typeface="Arial" charset="0"/>
              </a:rPr>
              <a:t>The immersive ‘bubble’ of cinema is also the perfect environment to land key messages –both emotional &amp; rational – and creating a better brand impression. </a:t>
            </a:r>
          </a:p>
        </p:txBody>
      </p:sp>
    </p:spTree>
    <p:extLst>
      <p:ext uri="{BB962C8B-B14F-4D97-AF65-F5344CB8AC3E}">
        <p14:creationId xmlns:p14="http://schemas.microsoft.com/office/powerpoint/2010/main" val="449529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1.xml><?xml version="1.0" encoding="utf-8"?>
<a:theme xmlns:a="http://schemas.openxmlformats.org/drawingml/2006/main" name="2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2.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3.xml><?xml version="1.0" encoding="utf-8"?>
<a:theme xmlns:a="http://schemas.openxmlformats.org/drawingml/2006/main" name="1_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1.pptx" id="{9A3FF9B2-2526-449B-8A29-51A3F53F5169}" vid="{27DEE0B9-EF6B-4F29-B1E7-AFA8B01D9A6E}"/>
    </a:ext>
  </a:extLst>
</a:theme>
</file>

<file path=ppt/theme/theme14.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5.xml><?xml version="1.0" encoding="utf-8"?>
<a:theme xmlns:a="http://schemas.openxmlformats.org/drawingml/2006/main" name="5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6.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7.xml><?xml version="1.0" encoding="utf-8"?>
<a:theme xmlns:a="http://schemas.openxmlformats.org/drawingml/2006/main" name="White Background Slides">
  <a:themeElements>
    <a:clrScheme name="EverythingDifferent_v1">
      <a:dk1>
        <a:srgbClr val="000000"/>
      </a:dk1>
      <a:lt1>
        <a:srgbClr val="FFFFFF"/>
      </a:lt1>
      <a:dk2>
        <a:srgbClr val="FFAC00"/>
      </a:dk2>
      <a:lt2>
        <a:srgbClr val="D5D5D5"/>
      </a:lt2>
      <a:accent1>
        <a:srgbClr val="FFBD33"/>
      </a:accent1>
      <a:accent2>
        <a:srgbClr val="787878"/>
      </a:accent2>
      <a:accent3>
        <a:srgbClr val="FFCE66"/>
      </a:accent3>
      <a:accent4>
        <a:srgbClr val="A9A9A9"/>
      </a:accent4>
      <a:accent5>
        <a:srgbClr val="FFDE99"/>
      </a:accent5>
      <a:accent6>
        <a:srgbClr val="797979"/>
      </a:accent6>
      <a:hlink>
        <a:srgbClr val="000000"/>
      </a:hlink>
      <a:folHlink>
        <a:srgbClr val="FFAC00"/>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9.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2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5.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6.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7.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8.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5D18DF-51D0-478F-97B5-360C6FA66EE5}"/>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696</Words>
  <Application>Microsoft Office PowerPoint</Application>
  <PresentationFormat>Custom</PresentationFormat>
  <Paragraphs>176</Paragraphs>
  <Slides>8</Slides>
  <Notes>8</Notes>
  <HiddenSlides>0</HiddenSlides>
  <MMClips>0</MMClips>
  <ScaleCrop>false</ScaleCrop>
  <HeadingPairs>
    <vt:vector size="8" baseType="variant">
      <vt:variant>
        <vt:lpstr>Fonts Used</vt:lpstr>
      </vt:variant>
      <vt:variant>
        <vt:i4>8</vt:i4>
      </vt:variant>
      <vt:variant>
        <vt:lpstr>Theme</vt:lpstr>
      </vt:variant>
      <vt:variant>
        <vt:i4>18</vt:i4>
      </vt:variant>
      <vt:variant>
        <vt:lpstr>Embedded OLE Servers</vt:lpstr>
      </vt:variant>
      <vt:variant>
        <vt:i4>1</vt:i4>
      </vt:variant>
      <vt:variant>
        <vt:lpstr>Slide Titles</vt:lpstr>
      </vt:variant>
      <vt:variant>
        <vt:i4>8</vt:i4>
      </vt:variant>
    </vt:vector>
  </HeadingPairs>
  <TitlesOfParts>
    <vt:vector size="35" baseType="lpstr">
      <vt:lpstr>Arial</vt:lpstr>
      <vt:lpstr>Calibri</vt:lpstr>
      <vt:lpstr>Century Gothic</vt:lpstr>
      <vt:lpstr>Helvetica</vt:lpstr>
      <vt:lpstr>Helvetica Regular</vt:lpstr>
      <vt:lpstr>Impact</vt:lpstr>
      <vt:lpstr>Times New Roman</vt:lpstr>
      <vt:lpstr>Wingdings</vt:lpstr>
      <vt:lpstr>Divider Slides</vt:lpstr>
      <vt:lpstr>Statement Slides</vt:lpstr>
      <vt:lpstr>Copy Slides</vt:lpstr>
      <vt:lpstr>Image Slides</vt:lpstr>
      <vt:lpstr>Co-branding Slides</vt:lpstr>
      <vt:lpstr>Video Slides</vt:lpstr>
      <vt:lpstr>Charts and Graphs Slides</vt:lpstr>
      <vt:lpstr>Thank You Slides</vt:lpstr>
      <vt:lpstr>Appendix Slides</vt:lpstr>
      <vt:lpstr>1_Copy Slides</vt:lpstr>
      <vt:lpstr>2_Statement Slides</vt:lpstr>
      <vt:lpstr>2_Copy Slides</vt:lpstr>
      <vt:lpstr>1_Appendix Slides</vt:lpstr>
      <vt:lpstr>3_Copy Slides</vt:lpstr>
      <vt:lpstr>5_Statement Slides</vt:lpstr>
      <vt:lpstr>4_Copy Slides</vt:lpstr>
      <vt:lpstr>White Background Slides</vt:lpstr>
      <vt:lpstr>1_Statement Slides</vt:lpstr>
      <vt:lpstr>think-cell Slide</vt:lpstr>
      <vt:lpstr>PowerPoint Presentation</vt:lpstr>
      <vt:lpstr>THE APPROACH</vt:lpstr>
      <vt:lpstr>PowerPoint Presentation</vt:lpstr>
      <vt:lpstr>CINEMA OCCUPIES A UNIQUE ROLE IN THE WORLD OF AV</vt:lpstr>
      <vt:lpstr>Cinema ads HELP bring the viewer into a ‘bubble’</vt:lpstr>
      <vt:lpstr>Brands can benefit from a transfer of positive attributes</vt:lpstr>
      <vt:lpstr>Cinema delivers at both an ‘emotional’ and a ‘rational’ level</vt:lpstr>
      <vt:lpstr>Key finding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cp:lastPrinted>2018-11-16T18:07:44Z</cp:lastPrinted>
  <dcterms:created xsi:type="dcterms:W3CDTF">2016-12-08T16:13:43Z</dcterms:created>
  <dcterms:modified xsi:type="dcterms:W3CDTF">2019-03-22T11:16:0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